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5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6.xml" ContentType="application/vnd.openxmlformats-officedocument.them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7.xml" ContentType="application/vnd.openxmlformats-officedocument.them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8.xml" ContentType="application/vnd.openxmlformats-officedocument.them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9.xml" ContentType="application/vnd.openxmlformats-officedocument.them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10.xml" ContentType="application/vnd.openxmlformats-officedocument.theme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11.xml" ContentType="application/vnd.openxmlformats-officedocument.theme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theme/theme12.xml" ContentType="application/vnd.openxmlformats-officedocument.theme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13.xml" ContentType="application/vnd.openxmlformats-officedocument.theme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14.xml" ContentType="application/vnd.openxmlformats-officedocument.theme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theme/theme15.xml" ContentType="application/vnd.openxmlformats-officedocument.theme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95" r:id="rId3"/>
    <p:sldMasterId id="2147483731" r:id="rId4"/>
    <p:sldMasterId id="2147483780" r:id="rId5"/>
    <p:sldMasterId id="2147483805" r:id="rId6"/>
    <p:sldMasterId id="2147483873" r:id="rId7"/>
    <p:sldMasterId id="2147483926" r:id="rId8"/>
    <p:sldMasterId id="2147483962" r:id="rId9"/>
    <p:sldMasterId id="2147484012" r:id="rId10"/>
    <p:sldMasterId id="2147484039" r:id="rId11"/>
    <p:sldMasterId id="2147484082" r:id="rId12"/>
    <p:sldMasterId id="2147484108" r:id="rId13"/>
    <p:sldMasterId id="2147484172" r:id="rId14"/>
    <p:sldMasterId id="2147484198" r:id="rId15"/>
  </p:sldMasterIdLst>
  <p:notesMasterIdLst>
    <p:notesMasterId r:id="rId40"/>
  </p:notesMasterIdLst>
  <p:sldIdLst>
    <p:sldId id="256" r:id="rId16"/>
    <p:sldId id="389" r:id="rId17"/>
    <p:sldId id="381" r:id="rId18"/>
    <p:sldId id="407" r:id="rId19"/>
    <p:sldId id="393" r:id="rId20"/>
    <p:sldId id="391" r:id="rId21"/>
    <p:sldId id="382" r:id="rId22"/>
    <p:sldId id="376" r:id="rId23"/>
    <p:sldId id="408" r:id="rId24"/>
    <p:sldId id="379" r:id="rId25"/>
    <p:sldId id="400" r:id="rId26"/>
    <p:sldId id="401" r:id="rId27"/>
    <p:sldId id="406" r:id="rId28"/>
    <p:sldId id="405" r:id="rId29"/>
    <p:sldId id="374" r:id="rId30"/>
    <p:sldId id="402" r:id="rId31"/>
    <p:sldId id="398" r:id="rId32"/>
    <p:sldId id="399" r:id="rId33"/>
    <p:sldId id="409" r:id="rId34"/>
    <p:sldId id="396" r:id="rId35"/>
    <p:sldId id="373" r:id="rId36"/>
    <p:sldId id="371" r:id="rId37"/>
    <p:sldId id="394" r:id="rId38"/>
    <p:sldId id="368" r:id="rId39"/>
  </p:sldIdLst>
  <p:sldSz cx="10160000" cy="7620000"/>
  <p:notesSz cx="9872663" cy="679767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6370" autoAdjust="0"/>
  </p:normalViewPr>
  <p:slideViewPr>
    <p:cSldViewPr>
      <p:cViewPr varScale="1">
        <p:scale>
          <a:sx n="65" d="100"/>
          <a:sy n="65" d="100"/>
        </p:scale>
        <p:origin x="1350" y="60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12" d="100"/>
          <a:sy n="112" d="100"/>
        </p:scale>
        <p:origin x="1308" y="13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notesMaster" Target="notesMasters/notesMaster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20" Type="http://schemas.openxmlformats.org/officeDocument/2006/relationships/slide" Target="slides/slide5.xml"/><Relationship Id="rId4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92152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5725" tIns="42863" rIns="85725" bIns="42863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495398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6775" y="849313"/>
            <a:ext cx="3059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7425" y="3271838"/>
            <a:ext cx="7897813" cy="26765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latin typeface="Century Gothic" panose="020B0502020202020204" pitchFamily="34" charset="0"/>
              </a:rPr>
              <a:t>Synthesis of all Research and Evaluation completed in the </a:t>
            </a:r>
            <a:r>
              <a:rPr lang="en-US" sz="1200" b="1" dirty="0" err="1">
                <a:latin typeface="Century Gothic" panose="020B0502020202020204" pitchFamily="34" charset="0"/>
              </a:rPr>
              <a:t>organisation</a:t>
            </a:r>
            <a:r>
              <a:rPr lang="en-US" sz="1200" b="1" dirty="0">
                <a:latin typeface="Century Gothic" panose="020B0502020202020204" pitchFamily="34" charset="0"/>
              </a:rPr>
              <a:t> categories by Strategic priority are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8242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6775" y="849313"/>
            <a:ext cx="3059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7425" y="3271838"/>
            <a:ext cx="7897813" cy="26765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hy we are doing them, why we want to bring together the research and evaluation evidence into one place</a:t>
            </a:r>
          </a:p>
        </p:txBody>
      </p:sp>
    </p:spTree>
    <p:extLst>
      <p:ext uri="{BB962C8B-B14F-4D97-AF65-F5344CB8AC3E}">
        <p14:creationId xmlns:p14="http://schemas.microsoft.com/office/powerpoint/2010/main" val="134565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6775" y="849313"/>
            <a:ext cx="3059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7425" y="3271838"/>
            <a:ext cx="7897813" cy="2676525"/>
          </a:xfrm>
          <a:prstGeom prst="rect">
            <a:avLst/>
          </a:prstGeom>
        </p:spPr>
        <p:txBody>
          <a:bodyPr/>
          <a:lstStyle/>
          <a:p>
            <a:r>
              <a:rPr lang="en-ZA" dirty="0"/>
              <a:t>Easy access for </a:t>
            </a:r>
            <a:r>
              <a:rPr lang="en-ZA" dirty="0" err="1"/>
              <a:t>maxiumum</a:t>
            </a:r>
            <a:r>
              <a:rPr lang="en-ZA" dirty="0"/>
              <a:t> usage and benefit</a:t>
            </a:r>
          </a:p>
        </p:txBody>
      </p:sp>
    </p:spTree>
    <p:extLst>
      <p:ext uri="{BB962C8B-B14F-4D97-AF65-F5344CB8AC3E}">
        <p14:creationId xmlns:p14="http://schemas.microsoft.com/office/powerpoint/2010/main" val="4464908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6775" y="849313"/>
            <a:ext cx="3059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7425" y="3271838"/>
            <a:ext cx="7897813" cy="26765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Next 4 slides give examples of our briefs on strategic evaluations</a:t>
            </a:r>
          </a:p>
        </p:txBody>
      </p:sp>
    </p:spTree>
    <p:extLst>
      <p:ext uri="{BB962C8B-B14F-4D97-AF65-F5344CB8AC3E}">
        <p14:creationId xmlns:p14="http://schemas.microsoft.com/office/powerpoint/2010/main" val="40776536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6775" y="849313"/>
            <a:ext cx="3059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7425" y="3271838"/>
            <a:ext cx="7897813" cy="2676525"/>
          </a:xfrm>
          <a:prstGeom prst="rect">
            <a:avLst/>
          </a:prstGeom>
        </p:spPr>
        <p:txBody>
          <a:bodyPr/>
          <a:lstStyle/>
          <a:p>
            <a:pPr marL="685800" indent="-685800">
              <a:buFont typeface="Wingdings" panose="05000000000000000000" pitchFamily="2" charset="2"/>
              <a:buChar char="ü"/>
            </a:pPr>
            <a:r>
              <a:rPr lang="en-US" sz="1200" b="0" dirty="0"/>
              <a:t>The importance of </a:t>
            </a:r>
            <a:r>
              <a:rPr lang="en-US" sz="1200" b="0" dirty="0" err="1"/>
              <a:t>ToC</a:t>
            </a:r>
            <a:r>
              <a:rPr lang="en-US" sz="1200" b="0" dirty="0"/>
              <a:t>, </a:t>
            </a:r>
            <a:r>
              <a:rPr lang="en-US" sz="1200" b="0" dirty="0" err="1"/>
              <a:t>programme</a:t>
            </a:r>
            <a:r>
              <a:rPr lang="en-US" sz="1200" b="0" dirty="0"/>
              <a:t> design and Results</a:t>
            </a:r>
          </a:p>
          <a:p>
            <a:r>
              <a:rPr lang="en-US" sz="1200" b="0" dirty="0"/>
              <a:t>          based M &amp;E frameworks, with specific indicators for outputs,</a:t>
            </a:r>
          </a:p>
          <a:p>
            <a:pPr marL="681038" indent="-681038"/>
            <a:r>
              <a:rPr lang="en-US" sz="1200" b="0" dirty="0"/>
              <a:t>          outcomes and impact – critical for monitoring progress and performance</a:t>
            </a:r>
            <a:endParaRPr lang="en-GB" sz="1200" b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/>
              <a:t>It was apparent from many of the evaluations that governance structures,  communication and stakeholder engagement is critical to ensure balance and efficiencies of interven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/>
              <a:t>The availability, access and quality of baseline monitoring data at a </a:t>
            </a:r>
            <a:r>
              <a:rPr lang="en-US" sz="1200" b="0" dirty="0" err="1"/>
              <a:t>programme</a:t>
            </a:r>
            <a:r>
              <a:rPr lang="en-US" sz="1200" b="0" dirty="0"/>
              <a:t> level is extremely limited and cannot successfully inform whether the </a:t>
            </a:r>
            <a:r>
              <a:rPr lang="en-US" sz="1200" b="0" dirty="0" err="1"/>
              <a:t>programmes</a:t>
            </a:r>
            <a:r>
              <a:rPr lang="en-US" sz="1200" b="0" dirty="0"/>
              <a:t> are making a differ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/>
              <a:t>and cannot successfully inform whether the </a:t>
            </a:r>
            <a:r>
              <a:rPr lang="en-US" sz="1200" b="0" dirty="0" err="1"/>
              <a:t>programmes</a:t>
            </a:r>
            <a:r>
              <a:rPr lang="en-US" sz="1200" b="0" dirty="0"/>
              <a:t> are making a differ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/>
              <a:t>Advocacy for evaluation </a:t>
            </a:r>
            <a:r>
              <a:rPr lang="en-GB" sz="1200" b="0" dirty="0" err="1"/>
              <a:t>ito</a:t>
            </a:r>
            <a:r>
              <a:rPr lang="en-GB" sz="1200" b="0" dirty="0"/>
              <a:t> benefits and use/Ownership and driving the evaluation agenda//Top management buy in championing evaluations</a:t>
            </a:r>
          </a:p>
          <a:p>
            <a:r>
              <a:rPr lang="en-GB" sz="1200" b="0" dirty="0"/>
              <a:t>and its use, Taking the recommendations from the evaluations forward into learning and improv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5159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6775" y="849313"/>
            <a:ext cx="3059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7425" y="3271838"/>
            <a:ext cx="7897813" cy="26765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Guideline developed and put it on the agenda , </a:t>
            </a:r>
            <a:r>
              <a:rPr lang="en-US" dirty="0" err="1"/>
              <a:t>identifiying</a:t>
            </a:r>
            <a:r>
              <a:rPr lang="en-US" dirty="0"/>
              <a:t> evaluations, </a:t>
            </a:r>
          </a:p>
        </p:txBody>
      </p:sp>
    </p:spTree>
    <p:extLst>
      <p:ext uri="{BB962C8B-B14F-4D97-AF65-F5344CB8AC3E}">
        <p14:creationId xmlns:p14="http://schemas.microsoft.com/office/powerpoint/2010/main" val="18321318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6775" y="849313"/>
            <a:ext cx="3059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7425" y="3271838"/>
            <a:ext cx="7897813" cy="26765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at’s the holy grail ‘</a:t>
            </a:r>
            <a:r>
              <a:rPr lang="en-US"/>
              <a:t>of evaluations’</a:t>
            </a:r>
          </a:p>
        </p:txBody>
      </p:sp>
    </p:spTree>
    <p:extLst>
      <p:ext uri="{BB962C8B-B14F-4D97-AF65-F5344CB8AC3E}">
        <p14:creationId xmlns:p14="http://schemas.microsoft.com/office/powerpoint/2010/main" val="352681835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5725" tIns="42863" rIns="85725" bIns="42863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7262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ZA" dirty="0"/>
              <a:t>About u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AEF02A-C351-4704-8B72-66B056C09FC5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0247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6775" y="849313"/>
            <a:ext cx="3059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7425" y="3271838"/>
            <a:ext cx="7897813" cy="26765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Our priorities</a:t>
            </a:r>
          </a:p>
        </p:txBody>
      </p:sp>
    </p:spTree>
    <p:extLst>
      <p:ext uri="{BB962C8B-B14F-4D97-AF65-F5344CB8AC3E}">
        <p14:creationId xmlns:p14="http://schemas.microsoft.com/office/powerpoint/2010/main" val="8558787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 lIns="85725" tIns="42863" rIns="85725" bIns="42863"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4705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b="0" dirty="0"/>
              <a:t>The origins of the NES leading to the P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164224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89025" y="663575"/>
            <a:ext cx="4427538" cy="332105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60544" y="4206313"/>
            <a:ext cx="5284343" cy="3984925"/>
          </a:xfrm>
          <a:prstGeom prst="rect">
            <a:avLst/>
          </a:prstGeom>
        </p:spPr>
        <p:txBody>
          <a:bodyPr lIns="85725" tIns="42863" rIns="85725" bIns="42863"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741550" y="8411082"/>
            <a:ext cx="2862352" cy="442770"/>
          </a:xfrm>
          <a:prstGeom prst="rect">
            <a:avLst/>
          </a:prstGeom>
        </p:spPr>
        <p:txBody>
          <a:bodyPr lIns="85725" tIns="42863" rIns="85725" bIns="42863"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6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2267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6775" y="849313"/>
            <a:ext cx="3059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7425" y="3271838"/>
            <a:ext cx="7897813" cy="26765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Our journey, evolution, institutionalization </a:t>
            </a:r>
          </a:p>
        </p:txBody>
      </p:sp>
    </p:spTree>
    <p:extLst>
      <p:ext uri="{BB962C8B-B14F-4D97-AF65-F5344CB8AC3E}">
        <p14:creationId xmlns:p14="http://schemas.microsoft.com/office/powerpoint/2010/main" val="502964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6775" y="849313"/>
            <a:ext cx="3059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7425" y="3271838"/>
            <a:ext cx="7897813" cy="2676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Why we need better data linking it </a:t>
            </a:r>
            <a:r>
              <a:rPr lang="en-US" dirty="0" err="1"/>
              <a:t>ot</a:t>
            </a:r>
            <a:r>
              <a:rPr lang="en-US" dirty="0"/>
              <a:t> the data </a:t>
            </a:r>
            <a:r>
              <a:rPr lang="en-US" dirty="0" err="1"/>
              <a:t>gov</a:t>
            </a:r>
            <a:r>
              <a:rPr lang="en-US" dirty="0"/>
              <a:t> agenda and a need for better data…Limited or no planning of implementation </a:t>
            </a:r>
            <a:r>
              <a:rPr lang="en-US" dirty="0" err="1"/>
              <a:t>programmes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Many of the </a:t>
            </a:r>
            <a:r>
              <a:rPr lang="en-US" dirty="0" err="1"/>
              <a:t>programmes</a:t>
            </a:r>
            <a:r>
              <a:rPr lang="en-US" dirty="0"/>
              <a:t> don’t have monitoring and results framework – outputs and outcome snot clearly defined</a:t>
            </a:r>
          </a:p>
          <a:p>
            <a:pPr lvl="0"/>
            <a:r>
              <a:rPr lang="en-US" dirty="0"/>
              <a:t>Monitoring data is limited to inform the evaluation and measure performanc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4495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06775" y="849313"/>
            <a:ext cx="3059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87425" y="3271838"/>
            <a:ext cx="7897813" cy="26765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latin typeface="Century Gothic" panose="020B0502020202020204" pitchFamily="34" charset="0"/>
              </a:rPr>
              <a:t>Design Clinics for Evaluations, Theory of Change and Rapid Review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93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6.xml"/><Relationship Id="rId1" Type="http://schemas.openxmlformats.org/officeDocument/2006/relationships/tags" Target="../tags/tag14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8.xml"/><Relationship Id="rId1" Type="http://schemas.openxmlformats.org/officeDocument/2006/relationships/tags" Target="../tags/tag14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0.xml"/><Relationship Id="rId1" Type="http://schemas.openxmlformats.org/officeDocument/2006/relationships/tags" Target="../tags/tag14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2.xml"/><Relationship Id="rId1" Type="http://schemas.openxmlformats.org/officeDocument/2006/relationships/tags" Target="../tags/tag15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4.xml"/><Relationship Id="rId1" Type="http://schemas.openxmlformats.org/officeDocument/2006/relationships/tags" Target="../tags/tag15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6.xml"/><Relationship Id="rId1" Type="http://schemas.openxmlformats.org/officeDocument/2006/relationships/tags" Target="../tags/tag15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8.xml"/><Relationship Id="rId1" Type="http://schemas.openxmlformats.org/officeDocument/2006/relationships/tags" Target="../tags/tag157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0.xml"/><Relationship Id="rId1" Type="http://schemas.openxmlformats.org/officeDocument/2006/relationships/tags" Target="../tags/tag159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2.xml"/><Relationship Id="rId1" Type="http://schemas.openxmlformats.org/officeDocument/2006/relationships/tags" Target="../tags/tag16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4.xml"/><Relationship Id="rId1" Type="http://schemas.openxmlformats.org/officeDocument/2006/relationships/tags" Target="../tags/tag16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6.xml"/><Relationship Id="rId1" Type="http://schemas.openxmlformats.org/officeDocument/2006/relationships/tags" Target="../tags/tag16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7.xml"/><Relationship Id="rId4" Type="http://schemas.openxmlformats.org/officeDocument/2006/relationships/image" Target="../media/image9.png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6.xml"/><Relationship Id="rId1" Type="http://schemas.openxmlformats.org/officeDocument/2006/relationships/tags" Target="../tags/tag17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8.xml"/><Relationship Id="rId1" Type="http://schemas.openxmlformats.org/officeDocument/2006/relationships/tags" Target="../tags/tag17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0.xml"/><Relationship Id="rId1" Type="http://schemas.openxmlformats.org/officeDocument/2006/relationships/tags" Target="../tags/tag179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2.xml"/><Relationship Id="rId1" Type="http://schemas.openxmlformats.org/officeDocument/2006/relationships/tags" Target="../tags/tag18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4.xml"/><Relationship Id="rId1" Type="http://schemas.openxmlformats.org/officeDocument/2006/relationships/tags" Target="../tags/tag18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6.xml"/><Relationship Id="rId1" Type="http://schemas.openxmlformats.org/officeDocument/2006/relationships/tags" Target="../tags/tag18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8.xml"/><Relationship Id="rId1" Type="http://schemas.openxmlformats.org/officeDocument/2006/relationships/tags" Target="../tags/tag18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0.xml"/><Relationship Id="rId1" Type="http://schemas.openxmlformats.org/officeDocument/2006/relationships/tags" Target="../tags/tag189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2.xml"/><Relationship Id="rId1" Type="http://schemas.openxmlformats.org/officeDocument/2006/relationships/tags" Target="../tags/tag19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4.xml"/><Relationship Id="rId1" Type="http://schemas.openxmlformats.org/officeDocument/2006/relationships/tags" Target="../tags/tag19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6.xml"/><Relationship Id="rId1" Type="http://schemas.openxmlformats.org/officeDocument/2006/relationships/tags" Target="../tags/tag19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8.xml"/><Relationship Id="rId1" Type="http://schemas.openxmlformats.org/officeDocument/2006/relationships/tags" Target="../tags/tag197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0.xml"/><Relationship Id="rId1" Type="http://schemas.openxmlformats.org/officeDocument/2006/relationships/tags" Target="../tags/tag199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2.xml"/><Relationship Id="rId1" Type="http://schemas.openxmlformats.org/officeDocument/2006/relationships/tags" Target="../tags/tag20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4.xml"/><Relationship Id="rId1" Type="http://schemas.openxmlformats.org/officeDocument/2006/relationships/tags" Target="../tags/tag20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6.xml"/><Relationship Id="rId1" Type="http://schemas.openxmlformats.org/officeDocument/2006/relationships/tags" Target="../tags/tag20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8.xml"/><Relationship Id="rId1" Type="http://schemas.openxmlformats.org/officeDocument/2006/relationships/tags" Target="../tags/tag20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0.xml"/><Relationship Id="rId1" Type="http://schemas.openxmlformats.org/officeDocument/2006/relationships/tags" Target="../tags/tag209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2.xml"/><Relationship Id="rId1" Type="http://schemas.openxmlformats.org/officeDocument/2006/relationships/tags" Target="../tags/tag211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3.xml"/><Relationship Id="rId4" Type="http://schemas.openxmlformats.org/officeDocument/2006/relationships/image" Target="../media/image16.png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5.xml"/><Relationship Id="rId1" Type="http://schemas.openxmlformats.org/officeDocument/2006/relationships/tags" Target="../tags/tag21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4.xml"/><Relationship Id="rId1" Type="http://schemas.openxmlformats.org/officeDocument/2006/relationships/tags" Target="../tags/tag22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6.xml"/><Relationship Id="rId1" Type="http://schemas.openxmlformats.org/officeDocument/2006/relationships/tags" Target="../tags/tag22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8.xml"/><Relationship Id="rId1" Type="http://schemas.openxmlformats.org/officeDocument/2006/relationships/tags" Target="../tags/tag227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0.xml"/><Relationship Id="rId1" Type="http://schemas.openxmlformats.org/officeDocument/2006/relationships/tags" Target="../tags/tag22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2.xml"/><Relationship Id="rId1" Type="http://schemas.openxmlformats.org/officeDocument/2006/relationships/tags" Target="../tags/tag23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4.xml"/><Relationship Id="rId1" Type="http://schemas.openxmlformats.org/officeDocument/2006/relationships/tags" Target="../tags/tag23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6.xml"/><Relationship Id="rId1" Type="http://schemas.openxmlformats.org/officeDocument/2006/relationships/tags" Target="../tags/tag23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8.xml"/><Relationship Id="rId1" Type="http://schemas.openxmlformats.org/officeDocument/2006/relationships/tags" Target="../tags/tag237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0.xml"/><Relationship Id="rId1" Type="http://schemas.openxmlformats.org/officeDocument/2006/relationships/tags" Target="../tags/tag239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2.xml"/><Relationship Id="rId1" Type="http://schemas.openxmlformats.org/officeDocument/2006/relationships/tags" Target="../tags/tag241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4.xml"/><Relationship Id="rId1" Type="http://schemas.openxmlformats.org/officeDocument/2006/relationships/tags" Target="../tags/tag24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6.xml"/><Relationship Id="rId1" Type="http://schemas.openxmlformats.org/officeDocument/2006/relationships/tags" Target="../tags/tag24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8.xml"/><Relationship Id="rId1" Type="http://schemas.openxmlformats.org/officeDocument/2006/relationships/tags" Target="../tags/tag24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0.xml"/><Relationship Id="rId1" Type="http://schemas.openxmlformats.org/officeDocument/2006/relationships/tags" Target="../tags/tag249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2.xml"/><Relationship Id="rId1" Type="http://schemas.openxmlformats.org/officeDocument/2006/relationships/tags" Target="../tags/tag251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4.xml"/><Relationship Id="rId1" Type="http://schemas.openxmlformats.org/officeDocument/2006/relationships/tags" Target="../tags/tag25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6.xml"/><Relationship Id="rId1" Type="http://schemas.openxmlformats.org/officeDocument/2006/relationships/tags" Target="../tags/tag25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8.xml"/><Relationship Id="rId1" Type="http://schemas.openxmlformats.org/officeDocument/2006/relationships/tags" Target="../tags/tag257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0.xml"/><Relationship Id="rId1" Type="http://schemas.openxmlformats.org/officeDocument/2006/relationships/tags" Target="../tags/tag259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2.xml"/><Relationship Id="rId1" Type="http://schemas.openxmlformats.org/officeDocument/2006/relationships/tags" Target="../tags/tag261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3.xml"/><Relationship Id="rId4" Type="http://schemas.openxmlformats.org/officeDocument/2006/relationships/image" Target="../media/image16.png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5.xml"/><Relationship Id="rId1" Type="http://schemas.openxmlformats.org/officeDocument/2006/relationships/tags" Target="../tags/tag26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4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5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6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8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9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0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3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5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6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8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9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0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1.xml"/><Relationship Id="rId4" Type="http://schemas.openxmlformats.org/officeDocument/2006/relationships/image" Target="../media/image16.png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1.xml"/><Relationship Id="rId1" Type="http://schemas.openxmlformats.org/officeDocument/2006/relationships/tags" Target="../tags/tag30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3.xml"/><Relationship Id="rId1" Type="http://schemas.openxmlformats.org/officeDocument/2006/relationships/tags" Target="../tags/tag302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5.xml"/><Relationship Id="rId1" Type="http://schemas.openxmlformats.org/officeDocument/2006/relationships/tags" Target="../tags/tag30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7.xml"/><Relationship Id="rId1" Type="http://schemas.openxmlformats.org/officeDocument/2006/relationships/tags" Target="../tags/tag306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9.xml"/><Relationship Id="rId1" Type="http://schemas.openxmlformats.org/officeDocument/2006/relationships/tags" Target="../tags/tag30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1.xml"/><Relationship Id="rId1" Type="http://schemas.openxmlformats.org/officeDocument/2006/relationships/tags" Target="../tags/tag310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3.xml"/><Relationship Id="rId1" Type="http://schemas.openxmlformats.org/officeDocument/2006/relationships/tags" Target="../tags/tag312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5.xml"/><Relationship Id="rId1" Type="http://schemas.openxmlformats.org/officeDocument/2006/relationships/tags" Target="../tags/tag314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7.xml"/><Relationship Id="rId1" Type="http://schemas.openxmlformats.org/officeDocument/2006/relationships/tags" Target="../tags/tag316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9.xml"/><Relationship Id="rId1" Type="http://schemas.openxmlformats.org/officeDocument/2006/relationships/tags" Target="../tags/tag318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1.xml"/><Relationship Id="rId1" Type="http://schemas.openxmlformats.org/officeDocument/2006/relationships/tags" Target="../tags/tag32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3.xml"/><Relationship Id="rId1" Type="http://schemas.openxmlformats.org/officeDocument/2006/relationships/tags" Target="../tags/tag322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5.xml"/><Relationship Id="rId1" Type="http://schemas.openxmlformats.org/officeDocument/2006/relationships/tags" Target="../tags/tag324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7.xml"/><Relationship Id="rId1" Type="http://schemas.openxmlformats.org/officeDocument/2006/relationships/tags" Target="../tags/tag326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9.xml"/><Relationship Id="rId1" Type="http://schemas.openxmlformats.org/officeDocument/2006/relationships/tags" Target="../tags/tag328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1.xml"/><Relationship Id="rId1" Type="http://schemas.openxmlformats.org/officeDocument/2006/relationships/tags" Target="../tags/tag330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3.xml"/><Relationship Id="rId1" Type="http://schemas.openxmlformats.org/officeDocument/2006/relationships/tags" Target="../tags/tag332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5.xml"/><Relationship Id="rId1" Type="http://schemas.openxmlformats.org/officeDocument/2006/relationships/tags" Target="../tags/tag334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7.xml"/><Relationship Id="rId1" Type="http://schemas.openxmlformats.org/officeDocument/2006/relationships/tags" Target="../tags/tag336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9.xml"/><Relationship Id="rId1" Type="http://schemas.openxmlformats.org/officeDocument/2006/relationships/tags" Target="../tags/tag33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0.xml"/><Relationship Id="rId4" Type="http://schemas.openxmlformats.org/officeDocument/2006/relationships/image" Target="../media/image9.png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46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47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48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49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0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3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4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5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6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7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8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9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6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6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6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63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64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65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66.xml"/><Relationship Id="rId4" Type="http://schemas.openxmlformats.org/officeDocument/2006/relationships/image" Target="../media/image9.png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67.xml"/></Relationships>
</file>

<file path=ppt/slideLayouts/_rels/slideLayout2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369.xml"/><Relationship Id="rId7" Type="http://schemas.openxmlformats.org/officeDocument/2006/relationships/tags" Target="../tags/tag373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372.xml"/><Relationship Id="rId5" Type="http://schemas.openxmlformats.org/officeDocument/2006/relationships/tags" Target="../tags/tag371.xml"/><Relationship Id="rId10" Type="http://schemas.openxmlformats.org/officeDocument/2006/relationships/image" Target="../media/image28.emf"/><Relationship Id="rId4" Type="http://schemas.openxmlformats.org/officeDocument/2006/relationships/tags" Target="../tags/tag370.xml"/><Relationship Id="rId9" Type="http://schemas.openxmlformats.org/officeDocument/2006/relationships/oleObject" Target="../embeddings/oleObject10.bin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79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0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3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4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5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6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7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9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90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91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9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93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94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95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96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9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98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99.xml"/><Relationship Id="rId4" Type="http://schemas.openxmlformats.org/officeDocument/2006/relationships/image" Target="../media/image9.png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08.xml"/><Relationship Id="rId1" Type="http://schemas.openxmlformats.org/officeDocument/2006/relationships/tags" Target="../tags/tag407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0.xml"/><Relationship Id="rId1" Type="http://schemas.openxmlformats.org/officeDocument/2006/relationships/tags" Target="../tags/tag409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2.xml"/><Relationship Id="rId1" Type="http://schemas.openxmlformats.org/officeDocument/2006/relationships/tags" Target="../tags/tag411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4.xml"/><Relationship Id="rId1" Type="http://schemas.openxmlformats.org/officeDocument/2006/relationships/tags" Target="../tags/tag413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6.xml"/><Relationship Id="rId1" Type="http://schemas.openxmlformats.org/officeDocument/2006/relationships/tags" Target="../tags/tag415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8.xml"/><Relationship Id="rId1" Type="http://schemas.openxmlformats.org/officeDocument/2006/relationships/tags" Target="../tags/tag41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9.png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0.xml"/><Relationship Id="rId1" Type="http://schemas.openxmlformats.org/officeDocument/2006/relationships/tags" Target="../tags/tag419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2.xml"/><Relationship Id="rId1" Type="http://schemas.openxmlformats.org/officeDocument/2006/relationships/tags" Target="../tags/tag421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4.xml"/><Relationship Id="rId1" Type="http://schemas.openxmlformats.org/officeDocument/2006/relationships/tags" Target="../tags/tag423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6.xml"/><Relationship Id="rId1" Type="http://schemas.openxmlformats.org/officeDocument/2006/relationships/tags" Target="../tags/tag425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8.xml"/><Relationship Id="rId1" Type="http://schemas.openxmlformats.org/officeDocument/2006/relationships/tags" Target="../tags/tag427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30.xml"/><Relationship Id="rId1" Type="http://schemas.openxmlformats.org/officeDocument/2006/relationships/tags" Target="../tags/tag429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32.xml"/><Relationship Id="rId1" Type="http://schemas.openxmlformats.org/officeDocument/2006/relationships/tags" Target="../tags/tag431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34.xml"/><Relationship Id="rId1" Type="http://schemas.openxmlformats.org/officeDocument/2006/relationships/tags" Target="../tags/tag433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36.xml"/><Relationship Id="rId1" Type="http://schemas.openxmlformats.org/officeDocument/2006/relationships/tags" Target="../tags/tag43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38.xml"/><Relationship Id="rId1" Type="http://schemas.openxmlformats.org/officeDocument/2006/relationships/tags" Target="../tags/tag437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0.xml"/><Relationship Id="rId1" Type="http://schemas.openxmlformats.org/officeDocument/2006/relationships/tags" Target="../tags/tag439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2.xml"/><Relationship Id="rId1" Type="http://schemas.openxmlformats.org/officeDocument/2006/relationships/tags" Target="../tags/tag441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4.xml"/><Relationship Id="rId1" Type="http://schemas.openxmlformats.org/officeDocument/2006/relationships/tags" Target="../tags/tag443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6.xml"/><Relationship Id="rId1" Type="http://schemas.openxmlformats.org/officeDocument/2006/relationships/tags" Target="../tags/tag445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47.xml"/><Relationship Id="rId4" Type="http://schemas.openxmlformats.org/officeDocument/2006/relationships/image" Target="../media/image9.png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3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56.xml"/><Relationship Id="rId1" Type="http://schemas.openxmlformats.org/officeDocument/2006/relationships/tags" Target="../tags/tag455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58.xml"/><Relationship Id="rId1" Type="http://schemas.openxmlformats.org/officeDocument/2006/relationships/tags" Target="../tags/tag45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60.xml"/><Relationship Id="rId1" Type="http://schemas.openxmlformats.org/officeDocument/2006/relationships/tags" Target="../tags/tag459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62.xml"/><Relationship Id="rId1" Type="http://schemas.openxmlformats.org/officeDocument/2006/relationships/tags" Target="../tags/tag461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64.xml"/><Relationship Id="rId1" Type="http://schemas.openxmlformats.org/officeDocument/2006/relationships/tags" Target="../tags/tag463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66.xml"/><Relationship Id="rId1" Type="http://schemas.openxmlformats.org/officeDocument/2006/relationships/tags" Target="../tags/tag465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68.xml"/><Relationship Id="rId1" Type="http://schemas.openxmlformats.org/officeDocument/2006/relationships/tags" Target="../tags/tag467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70.xml"/><Relationship Id="rId1" Type="http://schemas.openxmlformats.org/officeDocument/2006/relationships/tags" Target="../tags/tag469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72.xml"/><Relationship Id="rId1" Type="http://schemas.openxmlformats.org/officeDocument/2006/relationships/tags" Target="../tags/tag471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74.xml"/><Relationship Id="rId1" Type="http://schemas.openxmlformats.org/officeDocument/2006/relationships/tags" Target="../tags/tag473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76.xml"/><Relationship Id="rId1" Type="http://schemas.openxmlformats.org/officeDocument/2006/relationships/tags" Target="../tags/tag475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78.xml"/><Relationship Id="rId1" Type="http://schemas.openxmlformats.org/officeDocument/2006/relationships/tags" Target="../tags/tag47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3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80.xml"/><Relationship Id="rId1" Type="http://schemas.openxmlformats.org/officeDocument/2006/relationships/tags" Target="../tags/tag479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82.xml"/><Relationship Id="rId1" Type="http://schemas.openxmlformats.org/officeDocument/2006/relationships/tags" Target="../tags/tag481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84.xml"/><Relationship Id="rId1" Type="http://schemas.openxmlformats.org/officeDocument/2006/relationships/tags" Target="../tags/tag483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86.xml"/><Relationship Id="rId1" Type="http://schemas.openxmlformats.org/officeDocument/2006/relationships/tags" Target="../tags/tag485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88.xml"/><Relationship Id="rId1" Type="http://schemas.openxmlformats.org/officeDocument/2006/relationships/tags" Target="../tags/tag487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0.xml"/><Relationship Id="rId1" Type="http://schemas.openxmlformats.org/officeDocument/2006/relationships/tags" Target="../tags/tag489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2.xml"/><Relationship Id="rId1" Type="http://schemas.openxmlformats.org/officeDocument/2006/relationships/tags" Target="../tags/tag491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4.xml"/><Relationship Id="rId1" Type="http://schemas.openxmlformats.org/officeDocument/2006/relationships/tags" Target="../tags/tag493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495.xml"/><Relationship Id="rId4" Type="http://schemas.openxmlformats.org/officeDocument/2006/relationships/image" Target="../media/image9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3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7.xml"/><Relationship Id="rId1" Type="http://schemas.openxmlformats.org/officeDocument/2006/relationships/tags" Target="../tags/tag496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9.xml"/><Relationship Id="rId1" Type="http://schemas.openxmlformats.org/officeDocument/2006/relationships/tags" Target="../tags/tag498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1.xml"/><Relationship Id="rId1" Type="http://schemas.openxmlformats.org/officeDocument/2006/relationships/tags" Target="../tags/tag500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3.xml"/><Relationship Id="rId1" Type="http://schemas.openxmlformats.org/officeDocument/2006/relationships/tags" Target="../tags/tag502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tags" Target="../tags/tag506.xml"/><Relationship Id="rId2" Type="http://schemas.openxmlformats.org/officeDocument/2006/relationships/tags" Target="../tags/tag505.xml"/><Relationship Id="rId1" Type="http://schemas.openxmlformats.org/officeDocument/2006/relationships/tags" Target="../tags/tag504.xml"/><Relationship Id="rId4" Type="http://schemas.openxmlformats.org/officeDocument/2006/relationships/slideMaster" Target="../slideMasters/slideMaster13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3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3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3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15.xml"/><Relationship Id="rId1" Type="http://schemas.openxmlformats.org/officeDocument/2006/relationships/tags" Target="../tags/tag514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17.xml"/><Relationship Id="rId1" Type="http://schemas.openxmlformats.org/officeDocument/2006/relationships/tags" Target="../tags/tag516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19.xml"/><Relationship Id="rId1" Type="http://schemas.openxmlformats.org/officeDocument/2006/relationships/tags" Target="../tags/tag518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21.xml"/><Relationship Id="rId1" Type="http://schemas.openxmlformats.org/officeDocument/2006/relationships/tags" Target="../tags/tag520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23.xml"/><Relationship Id="rId1" Type="http://schemas.openxmlformats.org/officeDocument/2006/relationships/tags" Target="../tags/tag522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25.xml"/><Relationship Id="rId1" Type="http://schemas.openxmlformats.org/officeDocument/2006/relationships/tags" Target="../tags/tag524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27.xml"/><Relationship Id="rId1" Type="http://schemas.openxmlformats.org/officeDocument/2006/relationships/tags" Target="../tags/tag526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29.xml"/><Relationship Id="rId1" Type="http://schemas.openxmlformats.org/officeDocument/2006/relationships/tags" Target="../tags/tag528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1.xml"/><Relationship Id="rId1" Type="http://schemas.openxmlformats.org/officeDocument/2006/relationships/tags" Target="../tags/tag530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3.xml"/><Relationship Id="rId1" Type="http://schemas.openxmlformats.org/officeDocument/2006/relationships/tags" Target="../tags/tag532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5.xml"/><Relationship Id="rId1" Type="http://schemas.openxmlformats.org/officeDocument/2006/relationships/tags" Target="../tags/tag534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4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7.xml"/><Relationship Id="rId1" Type="http://schemas.openxmlformats.org/officeDocument/2006/relationships/tags" Target="../tags/tag536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9.xml"/><Relationship Id="rId1" Type="http://schemas.openxmlformats.org/officeDocument/2006/relationships/tags" Target="../tags/tag538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1.xml"/><Relationship Id="rId1" Type="http://schemas.openxmlformats.org/officeDocument/2006/relationships/tags" Target="../tags/tag540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3.xml"/><Relationship Id="rId1" Type="http://schemas.openxmlformats.org/officeDocument/2006/relationships/tags" Target="../tags/tag542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5.xml"/><Relationship Id="rId1" Type="http://schemas.openxmlformats.org/officeDocument/2006/relationships/tags" Target="../tags/tag544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7.xml"/><Relationship Id="rId1" Type="http://schemas.openxmlformats.org/officeDocument/2006/relationships/tags" Target="../tags/tag54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9.xml"/><Relationship Id="rId1" Type="http://schemas.openxmlformats.org/officeDocument/2006/relationships/tags" Target="../tags/tag548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1.xml"/><Relationship Id="rId1" Type="http://schemas.openxmlformats.org/officeDocument/2006/relationships/tags" Target="../tags/tag550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552.xml"/><Relationship Id="rId4" Type="http://schemas.openxmlformats.org/officeDocument/2006/relationships/image" Target="../media/image9.png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61.xml"/><Relationship Id="rId1" Type="http://schemas.openxmlformats.org/officeDocument/2006/relationships/tags" Target="../tags/tag560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63.xml"/><Relationship Id="rId1" Type="http://schemas.openxmlformats.org/officeDocument/2006/relationships/tags" Target="../tags/tag562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65.xml"/><Relationship Id="rId1" Type="http://schemas.openxmlformats.org/officeDocument/2006/relationships/tags" Target="../tags/tag564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67.xml"/><Relationship Id="rId1" Type="http://schemas.openxmlformats.org/officeDocument/2006/relationships/tags" Target="../tags/tag56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69.xml"/><Relationship Id="rId1" Type="http://schemas.openxmlformats.org/officeDocument/2006/relationships/tags" Target="../tags/tag568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71.xml"/><Relationship Id="rId1" Type="http://schemas.openxmlformats.org/officeDocument/2006/relationships/tags" Target="../tags/tag570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73.xml"/><Relationship Id="rId1" Type="http://schemas.openxmlformats.org/officeDocument/2006/relationships/tags" Target="../tags/tag572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75.xml"/><Relationship Id="rId1" Type="http://schemas.openxmlformats.org/officeDocument/2006/relationships/tags" Target="../tags/tag574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77.xml"/><Relationship Id="rId1" Type="http://schemas.openxmlformats.org/officeDocument/2006/relationships/tags" Target="../tags/tag576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79.xml"/><Relationship Id="rId1" Type="http://schemas.openxmlformats.org/officeDocument/2006/relationships/tags" Target="../tags/tag578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81.xml"/><Relationship Id="rId1" Type="http://schemas.openxmlformats.org/officeDocument/2006/relationships/tags" Target="../tags/tag580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83.xml"/><Relationship Id="rId1" Type="http://schemas.openxmlformats.org/officeDocument/2006/relationships/tags" Target="../tags/tag582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85.xml"/><Relationship Id="rId1" Type="http://schemas.openxmlformats.org/officeDocument/2006/relationships/tags" Target="../tags/tag58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87.xml"/><Relationship Id="rId1" Type="http://schemas.openxmlformats.org/officeDocument/2006/relationships/tags" Target="../tags/tag586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89.xml"/><Relationship Id="rId1" Type="http://schemas.openxmlformats.org/officeDocument/2006/relationships/tags" Target="../tags/tag588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1.xml"/><Relationship Id="rId1" Type="http://schemas.openxmlformats.org/officeDocument/2006/relationships/tags" Target="../tags/tag590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3.xml"/><Relationship Id="rId1" Type="http://schemas.openxmlformats.org/officeDocument/2006/relationships/tags" Target="../tags/tag592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5.xml"/><Relationship Id="rId1" Type="http://schemas.openxmlformats.org/officeDocument/2006/relationships/tags" Target="../tags/tag594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7.xml"/><Relationship Id="rId1" Type="http://schemas.openxmlformats.org/officeDocument/2006/relationships/tags" Target="../tags/tag596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9.xml"/><Relationship Id="rId1" Type="http://schemas.openxmlformats.org/officeDocument/2006/relationships/tags" Target="../tags/tag598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600.xml"/><Relationship Id="rId4" Type="http://schemas.openxmlformats.org/officeDocument/2006/relationships/image" Target="../media/image9.png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Relationship Id="rId4" Type="http://schemas.openxmlformats.org/officeDocument/2006/relationships/image" Target="../media/image16.pn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5.xml"/><Relationship Id="rId1" Type="http://schemas.openxmlformats.org/officeDocument/2006/relationships/tags" Target="../tags/tag9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2.xml"/><Relationship Id="rId4" Type="http://schemas.openxmlformats.org/officeDocument/2006/relationships/image" Target="../media/image9.pn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4.xml"/><Relationship Id="rId1" Type="http://schemas.openxmlformats.org/officeDocument/2006/relationships/tags" Target="../tags/tag13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6.xml"/><Relationship Id="rId1" Type="http://schemas.openxmlformats.org/officeDocument/2006/relationships/tags" Target="../tags/tag13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8.xml"/><Relationship Id="rId1" Type="http://schemas.openxmlformats.org/officeDocument/2006/relationships/tags" Target="../tags/tag13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0.xml"/><Relationship Id="rId1" Type="http://schemas.openxmlformats.org/officeDocument/2006/relationships/tags" Target="../tags/tag13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2.xml"/><Relationship Id="rId1" Type="http://schemas.openxmlformats.org/officeDocument/2006/relationships/tags" Target="../tags/tag14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4.xml"/><Relationship Id="rId1" Type="http://schemas.openxmlformats.org/officeDocument/2006/relationships/tags" Target="../tags/tag14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62000" y="2362200"/>
            <a:ext cx="8636000" cy="1600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524000" y="4267200"/>
            <a:ext cx="7111999" cy="1905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80" dirty="0"/>
              <a:t>‹#›</a:t>
            </a:fld>
            <a:endParaRPr spc="8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Holder 3"/>
          <p:cNvSpPr txBox="1">
            <a:spLocks/>
          </p:cNvSpPr>
          <p:nvPr userDrawn="1"/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/>
            <a:r>
              <a:rPr lang="en-US" spc="70"/>
              <a:t>©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Wester</a:t>
            </a:r>
            <a:r>
              <a:rPr lang="en-US" spc="50"/>
              <a:t>n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35"/>
              <a:t>Cap</a:t>
            </a:r>
            <a:r>
              <a:rPr lang="en-US" spc="25"/>
              <a:t>e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Governmen</a:t>
            </a:r>
            <a:r>
              <a:rPr lang="en-US" spc="20"/>
              <a:t>t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20"/>
              <a:t>|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45"/>
              <a:t>Chie</a:t>
            </a:r>
            <a:r>
              <a:rPr lang="en-US" spc="20"/>
              <a:t>f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Director</a:t>
            </a:r>
            <a:r>
              <a:rPr lang="en-US" spc="25"/>
              <a:t>: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Strategic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Managemen</a:t>
            </a:r>
            <a:r>
              <a:rPr lang="en-US" spc="20"/>
              <a:t>t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Information</a:t>
            </a:r>
            <a:endParaRPr lang="en-US" spc="60" dirty="0"/>
          </a:p>
        </p:txBody>
      </p:sp>
    </p:spTree>
    <p:extLst>
      <p:ext uri="{BB962C8B-B14F-4D97-AF65-F5344CB8AC3E}">
        <p14:creationId xmlns:p14="http://schemas.microsoft.com/office/powerpoint/2010/main" val="306270595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007385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7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57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641744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072118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103" y="2529867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556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876"/>
            <a:ext cx="10096500" cy="189777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1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838540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61"/>
            <a:ext cx="6080676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936676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45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6" y="1569752"/>
            <a:ext cx="6672130" cy="5200053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095020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3924646"/>
            <a:ext cx="9552450" cy="283494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114151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342862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6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1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954821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6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1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4114763"/>
            <a:ext cx="9552450" cy="264482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6367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569761"/>
            <a:ext cx="9552450" cy="5200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94049537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38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38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035723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40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40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40" y="5044775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8" y="1569758"/>
            <a:ext cx="6171092" cy="51843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898808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9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556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9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50002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50001" y="4492335"/>
            <a:ext cx="4148954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3" y="628558"/>
            <a:ext cx="2645276" cy="63953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556" dirty="0">
                <a:solidFill>
                  <a:prstClr val="white"/>
                </a:solidFill>
              </a:rPr>
              <a:t>Contact Us</a:t>
            </a:r>
            <a:endParaRPr lang="en-GB" sz="2667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7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1222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79109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4" y="4290063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667"/>
              </a:spcAft>
            </a:pPr>
            <a:r>
              <a:rPr lang="en-US" sz="3556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09"/>
            <a:ext cx="10160000" cy="27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50960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1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50"/>
              </a:spcBef>
              <a:defRPr sz="2167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667" b="0">
                <a:solidFill>
                  <a:schemeClr val="bg1"/>
                </a:solidFill>
              </a:defRPr>
            </a:lvl1pPr>
            <a:lvl2pPr marL="38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97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7"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97"/>
            <a:ext cx="1760196" cy="405694"/>
          </a:xfrm>
        </p:spPr>
        <p:txBody>
          <a:bodyPr>
            <a:normAutofit/>
          </a:bodyPr>
          <a:lstStyle>
            <a:lvl1pPr algn="r">
              <a:defRPr sz="91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97"/>
            <a:ext cx="2160240" cy="405694"/>
          </a:xfrm>
        </p:spPr>
        <p:txBody>
          <a:bodyPr>
            <a:normAutofit/>
          </a:bodyPr>
          <a:lstStyle>
            <a:lvl1pPr algn="r">
              <a:defRPr sz="917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996695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9552450" cy="54400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551465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4511890" cy="5440081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6" y="1329728"/>
            <a:ext cx="4511890" cy="5440081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482111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54386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569761"/>
            <a:ext cx="9552450" cy="5200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323638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61"/>
            <a:ext cx="4511890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61"/>
            <a:ext cx="4511890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45658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61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61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19536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53144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6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949770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6" y="1329725"/>
            <a:ext cx="4511890" cy="49856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6" y="1329725"/>
            <a:ext cx="4511890" cy="49856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92856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65162043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007324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7"/>
            <a:ext cx="4511890" cy="475715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57"/>
            <a:ext cx="4511890" cy="475715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911756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895001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133" y="2529927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2667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936"/>
            <a:ext cx="10096500" cy="189777"/>
          </a:xfrm>
          <a:prstGeom prst="rect">
            <a:avLst/>
          </a:prstGeom>
        </p:spPr>
      </p:pic>
      <p:pic>
        <p:nvPicPr>
          <p:cNvPr id="8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7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373017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68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61"/>
            <a:ext cx="6080676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124806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75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6" y="1569752"/>
            <a:ext cx="6672130" cy="5200053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15631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68635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3924646"/>
            <a:ext cx="9552450" cy="283494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12446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215526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76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821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64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870085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2AE88-7923-4266-AC6B-2DC48A7A35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B272FD-8E3F-460D-9779-1157130360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1FE598-EEF9-41E2-9DED-E9ED43A4E3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endParaRPr lang="en-US" spc="6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D60187-4853-406C-9B74-A1AE5387686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6AF06-B385-4E22-953C-4B9A7B6C8D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lang="en-US" spc="80" smtClean="0"/>
              <a:t>‹#›</a:t>
            </a:fld>
            <a:endParaRPr lang="en-US" spc="80" dirty="0"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68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68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68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104657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70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70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70" y="5044835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68" y="1569758"/>
            <a:ext cx="6171092" cy="51843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617481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0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9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1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9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8" y="3886092"/>
            <a:ext cx="447416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8" y="3886092"/>
            <a:ext cx="447416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50016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50016" y="4492335"/>
            <a:ext cx="4148954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5" y="628559"/>
            <a:ext cx="2032929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67">
                <a:solidFill>
                  <a:prstClr val="white"/>
                </a:solidFill>
              </a:rPr>
              <a:t>Contact Us</a:t>
            </a:r>
            <a:endParaRPr lang="en-GB" sz="200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7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917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648305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4" y="4290123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000"/>
              </a:spcAft>
            </a:pPr>
            <a:r>
              <a:rPr lang="en-US" sz="2667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69"/>
            <a:ext cx="10160000" cy="27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34460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762251" y="2635250"/>
            <a:ext cx="6676320" cy="22648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667">
                <a:solidFill>
                  <a:schemeClr val="bg1"/>
                </a:solidFill>
              </a:defRPr>
            </a:lvl1pPr>
            <a:lvl2pPr marL="38099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61992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3pPr>
            <a:lvl4pPr marL="1142989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4pPr>
            <a:lvl5pPr marL="1523985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5pPr>
            <a:lvl6pPr marL="1904981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6pPr>
            <a:lvl7pPr marL="2285977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7pPr>
            <a:lvl8pPr marL="2666973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8pPr>
            <a:lvl9pPr marL="3047970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770925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  <a:prstGeom prst="rect">
            <a:avLst/>
          </a:prstGeo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1798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09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6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57904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595905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-16556" y="529636"/>
            <a:ext cx="10176556" cy="7090364"/>
            <a:chOff x="-14900" y="860462"/>
            <a:chExt cx="9158900" cy="5997538"/>
          </a:xfrm>
        </p:grpSpPr>
        <p:sp>
          <p:nvSpPr>
            <p:cNvPr id="6" name="Rectangle 5"/>
            <p:cNvSpPr/>
            <p:nvPr/>
          </p:nvSpPr>
          <p:spPr>
            <a:xfrm>
              <a:off x="-14900" y="860462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-14900" y="2864811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-14900" y="4869160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333022" y="860462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333022" y="2864811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333022" y="4869160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</p:grpSp>
      <p:sp>
        <p:nvSpPr>
          <p:cNvPr id="12" name="Rectangle 11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>
              <a:solidFill>
                <a:prstClr val="white"/>
              </a:solidFill>
            </a:endParaRP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461535" y="3325855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461538" y="956369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470542" y="5719036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" y="19452"/>
            <a:ext cx="1698910" cy="495341"/>
          </a:xfrm>
          <a:prstGeom prst="rect">
            <a:avLst/>
          </a:prstGeom>
        </p:spPr>
      </p:pic>
      <p:sp>
        <p:nvSpPr>
          <p:cNvPr id="33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2513861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-16556" y="529635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16556" y="2316501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16556" y="4103366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6556" y="5890231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919538" y="0"/>
            <a:ext cx="0" cy="7650427"/>
          </a:xfrm>
          <a:prstGeom prst="line">
            <a:avLst/>
          </a:prstGeom>
          <a:ln w="444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441941" y="4502168"/>
            <a:ext cx="1786868" cy="93609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441940" y="2715301"/>
            <a:ext cx="1786866" cy="93609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429659" y="6294417"/>
            <a:ext cx="1753302" cy="9450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425383" y="955106"/>
            <a:ext cx="1786866" cy="93609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7" y="22053"/>
            <a:ext cx="1646293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24434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8326" y="6250427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8326" y="4824929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18326" y="3399432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8326" y="1973936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-18326" y="548439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919538" y="0"/>
            <a:ext cx="0" cy="7650427"/>
          </a:xfrm>
          <a:prstGeom prst="line">
            <a:avLst/>
          </a:prstGeom>
          <a:ln w="444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261256" y="5044220"/>
            <a:ext cx="1425499" cy="93609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252978" y="3626914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262310" y="6461766"/>
            <a:ext cx="1418604" cy="9450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269535" y="2191481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-262869" y="771013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" y="19452"/>
            <a:ext cx="1698910" cy="49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06161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6" b="5694"/>
          <a:stretch/>
        </p:blipFill>
        <p:spPr>
          <a:xfrm>
            <a:off x="0" y="0"/>
            <a:ext cx="10159206" cy="762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0159206" cy="1083733"/>
          </a:xfrm>
          <a:prstGeom prst="rect">
            <a:avLst/>
          </a:prstGeom>
          <a:gradFill flip="none" rotWithShape="1">
            <a:gsLst>
              <a:gs pos="83000">
                <a:srgbClr val="003399"/>
              </a:gs>
              <a:gs pos="19000">
                <a:srgbClr val="003399"/>
              </a:gs>
              <a:gs pos="5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1"/>
            <a:tileRect/>
          </a:gradFill>
          <a:scene3d>
            <a:camera prst="orthographicFront"/>
            <a:lightRig rig="threePt" dir="t"/>
          </a:scene3d>
          <a:sp3d>
            <a:bevelT/>
          </a:sp3d>
        </p:spPr>
        <p:txBody>
          <a:bodyPr anchor="ctr">
            <a:normAutofit fontScale="90000"/>
          </a:bodyPr>
          <a:lstStyle>
            <a:lvl1pPr>
              <a:defRPr lang="en-ZA" sz="3111" b="1" dirty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8084" y="1407584"/>
            <a:ext cx="9450917" cy="50270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Century Gothic" pitchFamily="34" charset="0"/>
              </a:defRPr>
            </a:lvl1pPr>
            <a:lvl2pPr marL="201081" indent="-201081" algn="l">
              <a:buFont typeface="Arial" pitchFamily="34" charset="0"/>
              <a:buChar char="•"/>
              <a:defRPr sz="1556">
                <a:solidFill>
                  <a:schemeClr val="tx1"/>
                </a:solidFill>
                <a:latin typeface="Century Gothic" pitchFamily="34" charset="0"/>
              </a:defRPr>
            </a:lvl2pPr>
            <a:lvl3pPr marL="101599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4294967295"/>
          </p:nvPr>
        </p:nvSpPr>
        <p:spPr>
          <a:xfrm>
            <a:off x="7642578" y="7174795"/>
            <a:ext cx="1945922" cy="433917"/>
          </a:xfrm>
          <a:prstGeom prst="rect">
            <a:avLst/>
          </a:prstGeom>
        </p:spPr>
        <p:txBody>
          <a:bodyPr/>
          <a:lstStyle>
            <a:lvl1pPr>
              <a:defRPr sz="1333">
                <a:latin typeface="Century Gothic" panose="020B0502020202020204" pitchFamily="34" charset="0"/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6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" y="6872333"/>
            <a:ext cx="2119857" cy="661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70817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1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50"/>
              </a:spcBef>
              <a:defRPr sz="2167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667" b="0">
                <a:solidFill>
                  <a:schemeClr val="bg1"/>
                </a:solidFill>
              </a:defRPr>
            </a:lvl1pPr>
            <a:lvl2pPr marL="38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97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7"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97"/>
            <a:ext cx="1760196" cy="405694"/>
          </a:xfrm>
        </p:spPr>
        <p:txBody>
          <a:bodyPr>
            <a:normAutofit/>
          </a:bodyPr>
          <a:lstStyle>
            <a:lvl1pPr algn="r">
              <a:defRPr sz="91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97"/>
            <a:ext cx="2160240" cy="405694"/>
          </a:xfrm>
        </p:spPr>
        <p:txBody>
          <a:bodyPr>
            <a:normAutofit/>
          </a:bodyPr>
          <a:lstStyle>
            <a:lvl1pPr algn="r">
              <a:defRPr sz="917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141208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9552450" cy="54400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735158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4511890" cy="5440081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6" y="1329728"/>
            <a:ext cx="4511890" cy="5440081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619878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74947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569761"/>
            <a:ext cx="9552450" cy="5200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89585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09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6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6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62937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61"/>
            <a:ext cx="4511890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61"/>
            <a:ext cx="4511890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148297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23108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6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768156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6" y="1329725"/>
            <a:ext cx="4511890" cy="49856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6" y="1329725"/>
            <a:ext cx="4511890" cy="49856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562982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02070295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149206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7"/>
            <a:ext cx="4511890" cy="475715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57"/>
            <a:ext cx="4511890" cy="475715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473726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795978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133" y="2529927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2667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936"/>
            <a:ext cx="10096500" cy="189777"/>
          </a:xfrm>
          <a:prstGeom prst="rect">
            <a:avLst/>
          </a:prstGeom>
        </p:spPr>
      </p:pic>
      <p:pic>
        <p:nvPicPr>
          <p:cNvPr id="8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7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104941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68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61"/>
            <a:ext cx="6080676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28023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09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06645645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75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6" y="1569752"/>
            <a:ext cx="6672130" cy="5200053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229393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3924646"/>
            <a:ext cx="9552450" cy="283494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196106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954480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76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821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64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719177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76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821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64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4114763"/>
            <a:ext cx="9552450" cy="264482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071780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68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68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68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991189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70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70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70" y="5044835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68" y="1569758"/>
            <a:ext cx="6171092" cy="51843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021288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0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9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1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9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8" y="3886092"/>
            <a:ext cx="447416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8" y="3886092"/>
            <a:ext cx="447416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50016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50016" y="4492335"/>
            <a:ext cx="4148954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5" y="628559"/>
            <a:ext cx="2032929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67">
                <a:solidFill>
                  <a:prstClr val="white"/>
                </a:solidFill>
              </a:rPr>
              <a:t>Contact Us</a:t>
            </a:r>
            <a:endParaRPr lang="en-GB" sz="200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7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917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41223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4" y="4290123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000"/>
              </a:spcAft>
            </a:pPr>
            <a:r>
              <a:rPr lang="en-US" sz="2667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69"/>
            <a:ext cx="10160000" cy="27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3830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19618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09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950292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762251" y="2635250"/>
            <a:ext cx="6676320" cy="22648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667">
                <a:solidFill>
                  <a:schemeClr val="bg1"/>
                </a:solidFill>
              </a:defRPr>
            </a:lvl1pPr>
            <a:lvl2pPr marL="38099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61992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3pPr>
            <a:lvl4pPr marL="1142989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4pPr>
            <a:lvl5pPr marL="1523985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5pPr>
            <a:lvl6pPr marL="1904981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6pPr>
            <a:lvl7pPr marL="2285977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7pPr>
            <a:lvl8pPr marL="2666973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8pPr>
            <a:lvl9pPr marL="3047970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657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  <a:prstGeom prst="rect">
            <a:avLst/>
          </a:prstGeo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230119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-16556" y="529636"/>
            <a:ext cx="10176556" cy="7090364"/>
            <a:chOff x="-14900" y="860462"/>
            <a:chExt cx="9158900" cy="5997538"/>
          </a:xfrm>
        </p:grpSpPr>
        <p:sp>
          <p:nvSpPr>
            <p:cNvPr id="6" name="Rectangle 5"/>
            <p:cNvSpPr/>
            <p:nvPr/>
          </p:nvSpPr>
          <p:spPr>
            <a:xfrm>
              <a:off x="-14900" y="860462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-14900" y="2864811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-14900" y="4869160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333022" y="860462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333022" y="2864811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333022" y="4869160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</p:grpSp>
      <p:sp>
        <p:nvSpPr>
          <p:cNvPr id="12" name="Rectangle 11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>
              <a:solidFill>
                <a:prstClr val="white"/>
              </a:solidFill>
            </a:endParaRP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461535" y="3325855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461538" y="956369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470542" y="5719036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" y="19452"/>
            <a:ext cx="1698910" cy="495341"/>
          </a:xfrm>
          <a:prstGeom prst="rect">
            <a:avLst/>
          </a:prstGeom>
        </p:spPr>
      </p:pic>
      <p:sp>
        <p:nvSpPr>
          <p:cNvPr id="33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5955107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-16556" y="529635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16556" y="2316501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16556" y="4103366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6556" y="5890231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919538" y="0"/>
            <a:ext cx="0" cy="7650427"/>
          </a:xfrm>
          <a:prstGeom prst="line">
            <a:avLst/>
          </a:prstGeom>
          <a:ln w="444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441941" y="4502168"/>
            <a:ext cx="1786868" cy="93609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441940" y="2715301"/>
            <a:ext cx="1786866" cy="93609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429659" y="6294417"/>
            <a:ext cx="1753302" cy="9450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425383" y="955106"/>
            <a:ext cx="1786866" cy="93609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7" y="22053"/>
            <a:ext cx="1646293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68035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8326" y="6250427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8326" y="4824929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18326" y="3399432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8326" y="1973936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-18326" y="548439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919538" y="0"/>
            <a:ext cx="0" cy="7650427"/>
          </a:xfrm>
          <a:prstGeom prst="line">
            <a:avLst/>
          </a:prstGeom>
          <a:ln w="444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261256" y="5044220"/>
            <a:ext cx="1425499" cy="93609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252978" y="3626914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262310" y="6461766"/>
            <a:ext cx="1418604" cy="9450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269535" y="2191481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-262869" y="771013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" y="19452"/>
            <a:ext cx="1698910" cy="49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53120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0159206" cy="762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0159206" cy="1083733"/>
          </a:xfrm>
          <a:prstGeom prst="rect">
            <a:avLst/>
          </a:prstGeom>
          <a:gradFill flip="none" rotWithShape="1">
            <a:gsLst>
              <a:gs pos="83000">
                <a:srgbClr val="003399"/>
              </a:gs>
              <a:gs pos="19000">
                <a:srgbClr val="003399"/>
              </a:gs>
              <a:gs pos="5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1"/>
            <a:tileRect/>
          </a:gradFill>
          <a:scene3d>
            <a:camera prst="orthographicFront"/>
            <a:lightRig rig="threePt" dir="t"/>
          </a:scene3d>
          <a:sp3d>
            <a:bevelT/>
          </a:sp3d>
        </p:spPr>
        <p:txBody>
          <a:bodyPr anchor="ctr">
            <a:normAutofit fontScale="90000"/>
          </a:bodyPr>
          <a:lstStyle>
            <a:lvl1pPr>
              <a:defRPr lang="en-ZA" sz="3111" b="1" dirty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8084" y="1407584"/>
            <a:ext cx="9450917" cy="50270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Century Gothic" pitchFamily="34" charset="0"/>
              </a:defRPr>
            </a:lvl1pPr>
            <a:lvl2pPr marL="201081" indent="-201081" algn="l">
              <a:buFont typeface="Arial" pitchFamily="34" charset="0"/>
              <a:buChar char="•"/>
              <a:defRPr sz="1556">
                <a:solidFill>
                  <a:schemeClr val="tx1"/>
                </a:solidFill>
                <a:latin typeface="Century Gothic" pitchFamily="34" charset="0"/>
              </a:defRPr>
            </a:lvl2pPr>
            <a:lvl3pPr marL="101599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4294967295"/>
          </p:nvPr>
        </p:nvSpPr>
        <p:spPr>
          <a:xfrm>
            <a:off x="7642578" y="7174795"/>
            <a:ext cx="1945922" cy="433917"/>
          </a:xfrm>
          <a:prstGeom prst="rect">
            <a:avLst/>
          </a:prstGeom>
        </p:spPr>
        <p:txBody>
          <a:bodyPr/>
          <a:lstStyle>
            <a:lvl1pPr>
              <a:defRPr sz="1333">
                <a:latin typeface="Century Gothic" panose="020B0502020202020204" pitchFamily="34" charset="0"/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6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" y="6872333"/>
            <a:ext cx="2119857" cy="661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61588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1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50"/>
              </a:spcBef>
              <a:defRPr sz="2167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667" b="0">
                <a:solidFill>
                  <a:schemeClr val="bg1"/>
                </a:solidFill>
              </a:defRPr>
            </a:lvl1pPr>
            <a:lvl2pPr marL="38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97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7"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97"/>
            <a:ext cx="1760196" cy="405694"/>
          </a:xfrm>
        </p:spPr>
        <p:txBody>
          <a:bodyPr>
            <a:normAutofit/>
          </a:bodyPr>
          <a:lstStyle>
            <a:lvl1pPr algn="r">
              <a:defRPr sz="91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97"/>
            <a:ext cx="2160240" cy="405694"/>
          </a:xfrm>
        </p:spPr>
        <p:txBody>
          <a:bodyPr>
            <a:normAutofit/>
          </a:bodyPr>
          <a:lstStyle>
            <a:lvl1pPr algn="r">
              <a:defRPr sz="917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21220536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9552450" cy="54400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Holder 3"/>
          <p:cNvSpPr txBox="1">
            <a:spLocks/>
          </p:cNvSpPr>
          <p:nvPr userDrawn="1"/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/>
            <a:r>
              <a:rPr lang="en-US" spc="70"/>
              <a:t>©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Wester</a:t>
            </a:r>
            <a:r>
              <a:rPr lang="en-US" spc="50"/>
              <a:t>n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35"/>
              <a:t>Cap</a:t>
            </a:r>
            <a:r>
              <a:rPr lang="en-US" spc="25"/>
              <a:t>e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Governmen</a:t>
            </a:r>
            <a:r>
              <a:rPr lang="en-US" spc="20"/>
              <a:t>t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20"/>
              <a:t>|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45"/>
              <a:t>Chie</a:t>
            </a:r>
            <a:r>
              <a:rPr lang="en-US" spc="20"/>
              <a:t>f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Director</a:t>
            </a:r>
            <a:r>
              <a:rPr lang="en-US" spc="25"/>
              <a:t>: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Strategic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Managemen</a:t>
            </a:r>
            <a:r>
              <a:rPr lang="en-US" spc="20"/>
              <a:t>t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Information</a:t>
            </a:r>
            <a:endParaRPr lang="en-US" spc="60" dirty="0"/>
          </a:p>
        </p:txBody>
      </p:sp>
    </p:spTree>
    <p:extLst>
      <p:ext uri="{BB962C8B-B14F-4D97-AF65-F5344CB8AC3E}">
        <p14:creationId xmlns:p14="http://schemas.microsoft.com/office/powerpoint/2010/main" val="84509286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4511890" cy="5440081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6" y="1329728"/>
            <a:ext cx="4511890" cy="5440081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Holder 3"/>
          <p:cNvSpPr txBox="1">
            <a:spLocks/>
          </p:cNvSpPr>
          <p:nvPr userDrawn="1"/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/>
            <a:r>
              <a:rPr lang="en-US" spc="70"/>
              <a:t>©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Wester</a:t>
            </a:r>
            <a:r>
              <a:rPr lang="en-US" spc="50"/>
              <a:t>n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35"/>
              <a:t>Cap</a:t>
            </a:r>
            <a:r>
              <a:rPr lang="en-US" spc="25"/>
              <a:t>e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Governmen</a:t>
            </a:r>
            <a:r>
              <a:rPr lang="en-US" spc="20"/>
              <a:t>t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20"/>
              <a:t>|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45"/>
              <a:t>Chie</a:t>
            </a:r>
            <a:r>
              <a:rPr lang="en-US" spc="20"/>
              <a:t>f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Director</a:t>
            </a:r>
            <a:r>
              <a:rPr lang="en-US" spc="25"/>
              <a:t>: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Strategic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Managemen</a:t>
            </a:r>
            <a:r>
              <a:rPr lang="en-US" spc="20"/>
              <a:t>t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Information</a:t>
            </a:r>
            <a:endParaRPr lang="en-US" spc="60" dirty="0"/>
          </a:p>
        </p:txBody>
      </p:sp>
    </p:spTree>
    <p:extLst>
      <p:ext uri="{BB962C8B-B14F-4D97-AF65-F5344CB8AC3E}">
        <p14:creationId xmlns:p14="http://schemas.microsoft.com/office/powerpoint/2010/main" val="192572356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568976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7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09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57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85948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569761"/>
            <a:ext cx="9552450" cy="5200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11869981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61"/>
            <a:ext cx="4511890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61"/>
            <a:ext cx="4511890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40666245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7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68041928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6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78388337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6" y="1329725"/>
            <a:ext cx="4511890" cy="49856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6" y="1329725"/>
            <a:ext cx="4511890" cy="49856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65681690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415536476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84129474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7"/>
            <a:ext cx="4511890" cy="475715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57"/>
            <a:ext cx="4511890" cy="475715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41675655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84390316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133" y="2529927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2667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936"/>
            <a:ext cx="10096500" cy="189777"/>
          </a:xfrm>
          <a:prstGeom prst="rect">
            <a:avLst/>
          </a:prstGeom>
        </p:spPr>
      </p:pic>
      <p:sp>
        <p:nvSpPr>
          <p:cNvPr id="7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9438572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09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261760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68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61"/>
            <a:ext cx="6080676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62419877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75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6" y="1569752"/>
            <a:ext cx="6672130" cy="5200053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06443739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3924646"/>
            <a:ext cx="9552450" cy="283494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02290890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58558256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76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821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64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89011483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76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821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64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4114763"/>
            <a:ext cx="9552450" cy="264482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52787687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68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68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68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91751747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70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70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70" y="5044835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68" y="1569758"/>
            <a:ext cx="6171092" cy="51843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07767716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0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9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1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9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8" y="3886092"/>
            <a:ext cx="447416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8" y="3886092"/>
            <a:ext cx="447416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50016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50016" y="4492335"/>
            <a:ext cx="4148954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5" y="628559"/>
            <a:ext cx="2032929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67">
                <a:solidFill>
                  <a:prstClr val="white"/>
                </a:solidFill>
              </a:rPr>
              <a:t>Contact Us</a:t>
            </a:r>
            <a:endParaRPr lang="en-GB" sz="200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7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917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38890435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4" y="4290123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000"/>
              </a:spcAft>
            </a:pPr>
            <a:r>
              <a:rPr lang="en-US" sz="2667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69"/>
            <a:ext cx="10160000" cy="274159"/>
          </a:xfrm>
          <a:prstGeom prst="rect">
            <a:avLst/>
          </a:prstGeom>
        </p:spPr>
      </p:pic>
      <p:sp>
        <p:nvSpPr>
          <p:cNvPr id="4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023849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500" b="0" i="0">
                <a:solidFill>
                  <a:srgbClr val="003399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Cambria"/>
                <a:cs typeface="Cambri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80" dirty="0"/>
              <a:t>‹#›</a:t>
            </a:fld>
            <a:endParaRPr spc="80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121" y="2529903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556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912"/>
            <a:ext cx="10096500" cy="189777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54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87978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65388776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762251" y="2635250"/>
            <a:ext cx="6676320" cy="22648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667">
                <a:solidFill>
                  <a:schemeClr val="bg1"/>
                </a:solidFill>
              </a:defRPr>
            </a:lvl1pPr>
            <a:lvl2pPr marL="38099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61992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3pPr>
            <a:lvl4pPr marL="1142989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4pPr>
            <a:lvl5pPr marL="1523985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5pPr>
            <a:lvl6pPr marL="1904981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6pPr>
            <a:lvl7pPr marL="2285977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7pPr>
            <a:lvl8pPr marL="2666973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8pPr>
            <a:lvl9pPr marL="3047970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  <p:sp>
        <p:nvSpPr>
          <p:cNvPr id="4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31415208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  <a:prstGeom prst="rect">
            <a:avLst/>
          </a:prstGeo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45093436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-16556" y="529636"/>
            <a:ext cx="10176556" cy="7090364"/>
            <a:chOff x="-14900" y="860462"/>
            <a:chExt cx="9158900" cy="5997538"/>
          </a:xfrm>
        </p:grpSpPr>
        <p:sp>
          <p:nvSpPr>
            <p:cNvPr id="6" name="Rectangle 5"/>
            <p:cNvSpPr/>
            <p:nvPr/>
          </p:nvSpPr>
          <p:spPr>
            <a:xfrm>
              <a:off x="-14900" y="860462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-14900" y="2864811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-14900" y="4869160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333022" y="860462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333022" y="2864811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333022" y="4869160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</p:grpSp>
      <p:sp>
        <p:nvSpPr>
          <p:cNvPr id="12" name="Rectangle 11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>
              <a:solidFill>
                <a:prstClr val="white"/>
              </a:solidFill>
            </a:endParaRP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461535" y="3325855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461538" y="956369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470542" y="5719036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" y="19452"/>
            <a:ext cx="1698910" cy="495341"/>
          </a:xfrm>
          <a:prstGeom prst="rect">
            <a:avLst/>
          </a:prstGeom>
        </p:spPr>
      </p:pic>
      <p:sp>
        <p:nvSpPr>
          <p:cNvPr id="33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0898603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-16556" y="529635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16556" y="2316501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16556" y="4103366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6556" y="5890231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919538" y="0"/>
            <a:ext cx="0" cy="7650427"/>
          </a:xfrm>
          <a:prstGeom prst="line">
            <a:avLst/>
          </a:prstGeom>
          <a:ln w="444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441941" y="4502168"/>
            <a:ext cx="1786868" cy="93609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441940" y="2715301"/>
            <a:ext cx="1786866" cy="93609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429659" y="6294417"/>
            <a:ext cx="1753302" cy="9450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425383" y="955106"/>
            <a:ext cx="1786866" cy="93609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7" y="22053"/>
            <a:ext cx="1646293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88007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8326" y="6250427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8326" y="4824929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18326" y="3399432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8326" y="1973936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-18326" y="548439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919538" y="0"/>
            <a:ext cx="0" cy="7650427"/>
          </a:xfrm>
          <a:prstGeom prst="line">
            <a:avLst/>
          </a:prstGeom>
          <a:ln w="444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261256" y="5044220"/>
            <a:ext cx="1425499" cy="93609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252978" y="3626914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262310" y="6461766"/>
            <a:ext cx="1418604" cy="9450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269535" y="2191481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-262869" y="771013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" y="19452"/>
            <a:ext cx="1698910" cy="49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94024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6" b="5694"/>
          <a:stretch/>
        </p:blipFill>
        <p:spPr>
          <a:xfrm>
            <a:off x="0" y="0"/>
            <a:ext cx="10159206" cy="762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0159206" cy="1083733"/>
          </a:xfrm>
          <a:prstGeom prst="rect">
            <a:avLst/>
          </a:prstGeom>
          <a:gradFill flip="none" rotWithShape="1">
            <a:gsLst>
              <a:gs pos="83000">
                <a:srgbClr val="003399"/>
              </a:gs>
              <a:gs pos="19000">
                <a:srgbClr val="003399"/>
              </a:gs>
              <a:gs pos="5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1"/>
            <a:tileRect/>
          </a:gradFill>
          <a:scene3d>
            <a:camera prst="orthographicFront"/>
            <a:lightRig rig="threePt" dir="t"/>
          </a:scene3d>
          <a:sp3d>
            <a:bevelT/>
          </a:sp3d>
        </p:spPr>
        <p:txBody>
          <a:bodyPr anchor="ctr">
            <a:normAutofit fontScale="90000"/>
          </a:bodyPr>
          <a:lstStyle>
            <a:lvl1pPr>
              <a:defRPr lang="en-ZA" sz="3111" b="1" dirty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8084" y="1407584"/>
            <a:ext cx="9450917" cy="50270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Century Gothic" pitchFamily="34" charset="0"/>
              </a:defRPr>
            </a:lvl1pPr>
            <a:lvl2pPr marL="201081" indent="-201081" algn="l">
              <a:buFont typeface="Arial" pitchFamily="34" charset="0"/>
              <a:buChar char="•"/>
              <a:defRPr sz="1556">
                <a:solidFill>
                  <a:schemeClr val="tx1"/>
                </a:solidFill>
                <a:latin typeface="Century Gothic" pitchFamily="34" charset="0"/>
              </a:defRPr>
            </a:lvl2pPr>
            <a:lvl3pPr marL="101599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4294967295"/>
          </p:nvPr>
        </p:nvSpPr>
        <p:spPr>
          <a:xfrm>
            <a:off x="7642578" y="7174795"/>
            <a:ext cx="1945922" cy="433917"/>
          </a:xfrm>
          <a:prstGeom prst="rect">
            <a:avLst/>
          </a:prstGeom>
        </p:spPr>
        <p:txBody>
          <a:bodyPr/>
          <a:lstStyle>
            <a:lvl1pPr>
              <a:defRPr sz="1333">
                <a:latin typeface="Century Gothic" panose="020B0502020202020204" pitchFamily="34" charset="0"/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6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" y="6872333"/>
            <a:ext cx="2119857" cy="661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158049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98500" y="7062613"/>
            <a:ext cx="2286000" cy="405694"/>
          </a:xfrm>
          <a:prstGeom prst="rect">
            <a:avLst/>
          </a:prstGeom>
        </p:spPr>
        <p:txBody>
          <a:bodyPr/>
          <a:lstStyle/>
          <a:p>
            <a:endParaRPr lang="en-ZA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/>
          <a:lstStyle/>
          <a:p>
            <a:endParaRPr lang="en-ZA">
              <a:solidFill>
                <a:srgbClr val="998F8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5849C6-7D30-4B68-BD58-7BACBCEDD54F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46528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1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33"/>
              </a:spcBef>
              <a:defRPr sz="2889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222" b="0">
                <a:solidFill>
                  <a:schemeClr val="bg1"/>
                </a:solidFill>
              </a:defRPr>
            </a:lvl1pPr>
            <a:lvl2pPr marL="507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37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2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37"/>
            <a:ext cx="1760196" cy="405694"/>
          </a:xfrm>
        </p:spPr>
        <p:txBody>
          <a:bodyPr>
            <a:normAutofit/>
          </a:bodyPr>
          <a:lstStyle>
            <a:lvl1pPr algn="r">
              <a:defRPr sz="122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37"/>
            <a:ext cx="2160240" cy="405694"/>
          </a:xfrm>
        </p:spPr>
        <p:txBody>
          <a:bodyPr>
            <a:normAutofit/>
          </a:bodyPr>
          <a:lstStyle>
            <a:lvl1pPr algn="r">
              <a:defRPr sz="1222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892328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9552450" cy="54400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33644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56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61"/>
            <a:ext cx="6080676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599771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6" y="1329728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46650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46404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569761"/>
            <a:ext cx="9552450" cy="5200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082440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61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61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253304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46178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6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937876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6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6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363167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50934663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998412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7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57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88796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63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6" y="1569752"/>
            <a:ext cx="6672130" cy="5200053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770726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655077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103" y="2529867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556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876"/>
            <a:ext cx="10096500" cy="189777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1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092324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61"/>
            <a:ext cx="6080676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835984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45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6" y="1569752"/>
            <a:ext cx="6672130" cy="5200053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779140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3924646"/>
            <a:ext cx="9552450" cy="283494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015895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438264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6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1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189607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6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1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4114763"/>
            <a:ext cx="9552450" cy="264482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872135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38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38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958655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40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40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40" y="5044775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8" y="1569758"/>
            <a:ext cx="6171092" cy="51843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36432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3924646"/>
            <a:ext cx="9552450" cy="283494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395181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9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556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9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50002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50001" y="4492335"/>
            <a:ext cx="4148954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3" y="628558"/>
            <a:ext cx="2645276" cy="63953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556" dirty="0">
                <a:solidFill>
                  <a:prstClr val="white"/>
                </a:solidFill>
              </a:rPr>
              <a:t>Contact Us</a:t>
            </a:r>
            <a:endParaRPr lang="en-GB" sz="2667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7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1222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65688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4" y="4290063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667"/>
              </a:spcAft>
            </a:pPr>
            <a:r>
              <a:rPr lang="en-US" sz="3556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09"/>
            <a:ext cx="10160000" cy="27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86896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98500" y="7062620"/>
            <a:ext cx="2286000" cy="405694"/>
          </a:xfrm>
          <a:prstGeom prst="rect">
            <a:avLst/>
          </a:prstGeom>
        </p:spPr>
        <p:txBody>
          <a:bodyPr/>
          <a:lstStyle/>
          <a:p>
            <a:endParaRPr lang="en-ZA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srgbClr val="998F8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41D85-EA41-411E-8456-84B5FDBD72F1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5028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0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33"/>
              </a:spcBef>
              <a:defRPr sz="2889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222" b="0">
                <a:solidFill>
                  <a:schemeClr val="bg1"/>
                </a:solidFill>
              </a:defRPr>
            </a:lvl1pPr>
            <a:lvl2pPr marL="507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29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2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29"/>
            <a:ext cx="1760196" cy="405694"/>
          </a:xfrm>
        </p:spPr>
        <p:txBody>
          <a:bodyPr>
            <a:normAutofit/>
          </a:bodyPr>
          <a:lstStyle>
            <a:lvl1pPr algn="r">
              <a:defRPr sz="122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29"/>
            <a:ext cx="2160240" cy="405694"/>
          </a:xfrm>
        </p:spPr>
        <p:txBody>
          <a:bodyPr>
            <a:normAutofit/>
          </a:bodyPr>
          <a:lstStyle>
            <a:lvl1pPr algn="r">
              <a:defRPr sz="1222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4201536235"/>
      </p:ext>
    </p:extLst>
  </p:cSld>
  <p:clrMapOvr>
    <a:masterClrMapping/>
  </p:clrMapOvr>
  <p:transition spd="slow">
    <p:wip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4" y="1329725"/>
            <a:ext cx="9552450" cy="54400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888051631"/>
      </p:ext>
    </p:extLst>
  </p:cSld>
  <p:clrMapOvr>
    <a:masterClrMapping/>
  </p:clrMapOvr>
  <p:transition spd="slow">
    <p:wip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4" y="1329725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 marL="199998" indent="-199998">
              <a:buFontTx/>
              <a:buBlip>
                <a:blip r:embed="rId3"/>
              </a:buBlip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4" y="1329725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398845012"/>
      </p:ext>
    </p:extLst>
  </p:cSld>
  <p:clrMapOvr>
    <a:masterClrMapping/>
  </p:clrMapOvr>
  <p:transition spd="slow">
    <p:wip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693136591"/>
      </p:ext>
    </p:extLst>
  </p:cSld>
  <p:clrMapOvr>
    <a:masterClrMapping/>
  </p:clrMapOvr>
  <p:transition spd="slow">
    <p:wip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4" y="1569752"/>
            <a:ext cx="9552450" cy="5200054"/>
          </a:xfrm>
        </p:spPr>
        <p:txBody>
          <a:bodyPr/>
          <a:lstStyle>
            <a:lvl5pPr>
              <a:defRPr/>
            </a:lvl5pPr>
            <a:lvl6pPr marL="199998" indent="-199998">
              <a:buFontTx/>
              <a:buBlip>
                <a:blip r:embed="rId3"/>
              </a:buBlip>
              <a:defRPr sz="1778" baseline="0"/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en-GB" dirty="0"/>
          </a:p>
        </p:txBody>
      </p:sp>
      <p:sp>
        <p:nvSpPr>
          <p:cNvPr id="7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63022190"/>
      </p:ext>
    </p:extLst>
  </p:cSld>
  <p:clrMapOvr>
    <a:masterClrMapping/>
  </p:clrMapOvr>
  <p:transition spd="slow">
    <p:wip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4" y="1569752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4" y="1569752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476753363"/>
      </p:ext>
    </p:extLst>
  </p:cSld>
  <p:clrMapOvr>
    <a:masterClrMapping/>
  </p:clrMapOvr>
  <p:transition spd="slow">
    <p:wip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Holder 3"/>
          <p:cNvSpPr txBox="1">
            <a:spLocks/>
          </p:cNvSpPr>
          <p:nvPr userDrawn="1"/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/>
            <a:r>
              <a:rPr lang="en-US" spc="70"/>
              <a:t>©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Wester</a:t>
            </a:r>
            <a:r>
              <a:rPr lang="en-US" spc="50"/>
              <a:t>n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35"/>
              <a:t>Cap</a:t>
            </a:r>
            <a:r>
              <a:rPr lang="en-US" spc="25"/>
              <a:t>e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Governmen</a:t>
            </a:r>
            <a:r>
              <a:rPr lang="en-US" spc="20"/>
              <a:t>t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20"/>
              <a:t>|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45"/>
              <a:t>Chie</a:t>
            </a:r>
            <a:r>
              <a:rPr lang="en-US" spc="20"/>
              <a:t>f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Director</a:t>
            </a:r>
            <a:r>
              <a:rPr lang="en-US" spc="25"/>
              <a:t>: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Strategic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Managemen</a:t>
            </a:r>
            <a:r>
              <a:rPr lang="en-US" spc="20"/>
              <a:t>t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Information</a:t>
            </a:r>
            <a:endParaRPr lang="en-US" spc="60" dirty="0"/>
          </a:p>
        </p:txBody>
      </p:sp>
    </p:spTree>
    <p:extLst>
      <p:ext uri="{BB962C8B-B14F-4D97-AF65-F5344CB8AC3E}">
        <p14:creationId xmlns:p14="http://schemas.microsoft.com/office/powerpoint/2010/main" val="1732934673"/>
      </p:ext>
    </p:extLst>
  </p:cSld>
  <p:clrMapOvr>
    <a:masterClrMapping/>
  </p:clrMapOvr>
  <p:transition spd="slow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259738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4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407601326"/>
      </p:ext>
    </p:extLst>
  </p:cSld>
  <p:clrMapOvr>
    <a:masterClrMapping/>
  </p:clrMapOvr>
  <p:transition spd="slow">
    <p:wip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4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4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810656840"/>
      </p:ext>
    </p:extLst>
  </p:cSld>
  <p:clrMapOvr>
    <a:masterClrMapping/>
  </p:clrMapOvr>
  <p:transition spd="slow">
    <p:wip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408516985"/>
      </p:ext>
    </p:extLst>
  </p:cSld>
  <p:clrMapOvr>
    <a:masterClrMapping/>
  </p:clrMapOvr>
  <p:transition spd="slow">
    <p:wip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4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026543248"/>
      </p:ext>
    </p:extLst>
  </p:cSld>
  <p:clrMapOvr>
    <a:masterClrMapping/>
  </p:clrMapOvr>
  <p:transition spd="slow">
    <p:wip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4" y="1569752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4" y="1569752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504994040"/>
      </p:ext>
    </p:extLst>
  </p:cSld>
  <p:clrMapOvr>
    <a:masterClrMapping/>
  </p:clrMapOvr>
  <p:transition spd="slow">
    <p:wip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92835566"/>
      </p:ext>
    </p:extLst>
  </p:cSld>
  <p:clrMapOvr>
    <a:masterClrMapping/>
  </p:clrMapOvr>
  <p:transition spd="slow">
    <p:wip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099" y="2529859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556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0" y="6129867"/>
            <a:ext cx="10096500" cy="189777"/>
          </a:xfrm>
          <a:prstGeom prst="rect">
            <a:avLst/>
          </a:prstGeom>
        </p:spPr>
      </p:pic>
      <p:sp>
        <p:nvSpPr>
          <p:cNvPr id="7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731441528"/>
      </p:ext>
    </p:extLst>
  </p:cSld>
  <p:clrMapOvr>
    <a:masterClrMapping/>
  </p:clrMapOvr>
  <p:transition spd="slow">
    <p:wip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4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52"/>
            <a:ext cx="6080676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609028963"/>
      </p:ext>
    </p:extLst>
  </p:cSld>
  <p:clrMapOvr>
    <a:masterClrMapping/>
  </p:clrMapOvr>
  <p:transition spd="slow">
    <p:wip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40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4" y="1569752"/>
            <a:ext cx="6672130" cy="5200053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778281451"/>
      </p:ext>
    </p:extLst>
  </p:cSld>
  <p:clrMapOvr>
    <a:masterClrMapping/>
  </p:clrMapOvr>
  <p:transition spd="slow">
    <p:wip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4" y="3924646"/>
            <a:ext cx="9552450" cy="283494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812190004"/>
      </p:ext>
    </p:extLst>
  </p:cSld>
  <p:clrMapOvr>
    <a:masterClrMapping/>
  </p:clrMapOvr>
  <p:transition spd="slow"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64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809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52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161300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4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4014518266"/>
      </p:ext>
    </p:extLst>
  </p:cSld>
  <p:clrMapOvr>
    <a:masterClrMapping/>
  </p:clrMapOvr>
  <p:transition spd="slow">
    <p:wip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2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86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0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4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777712740"/>
      </p:ext>
    </p:extLst>
  </p:cSld>
  <p:clrMapOvr>
    <a:masterClrMapping/>
  </p:clrMapOvr>
  <p:transition spd="slow">
    <p:wip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2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86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0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4" y="4114763"/>
            <a:ext cx="9552450" cy="264482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926885729"/>
      </p:ext>
    </p:extLst>
  </p:cSld>
  <p:clrMapOvr>
    <a:masterClrMapping/>
  </p:clrMapOvr>
  <p:transition spd="slow">
    <p:wip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4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34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34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468870045"/>
      </p:ext>
    </p:extLst>
  </p:cSld>
  <p:clrMapOvr>
    <a:masterClrMapping/>
  </p:clrMapOvr>
  <p:transition spd="slow">
    <p:wip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36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36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36" y="5044766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4" y="1569753"/>
            <a:ext cx="6171092" cy="51843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762821670"/>
      </p:ext>
    </p:extLst>
  </p:cSld>
  <p:clrMapOvr>
    <a:masterClrMapping/>
  </p:clrMapOvr>
  <p:transition spd="slow">
    <p:wip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7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556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7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6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2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5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49997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49996" y="4492335"/>
            <a:ext cx="4148954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3" y="628557"/>
            <a:ext cx="2645276" cy="63953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556" dirty="0">
                <a:solidFill>
                  <a:prstClr val="white"/>
                </a:solidFill>
              </a:rPr>
              <a:t>Contact Us</a:t>
            </a:r>
            <a:endParaRPr lang="en-GB" sz="2667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5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1222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821698824"/>
      </p:ext>
    </p:extLst>
  </p:cSld>
  <p:clrMapOvr>
    <a:masterClrMapping/>
  </p:clrMapOvr>
  <p:transition spd="slow">
    <p:wip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3" y="4290054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667"/>
              </a:spcAft>
            </a:pPr>
            <a:r>
              <a:rPr lang="en-US" sz="3556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582001"/>
            <a:ext cx="10160000" cy="274159"/>
          </a:xfrm>
          <a:prstGeom prst="rect">
            <a:avLst/>
          </a:prstGeom>
        </p:spPr>
      </p:pic>
      <p:sp>
        <p:nvSpPr>
          <p:cNvPr id="4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006490733"/>
      </p:ext>
    </p:extLst>
  </p:cSld>
  <p:clrMapOvr>
    <a:masterClrMapping/>
  </p:clrMapOvr>
  <p:transition spd="slow">
    <p:wip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06306" y="73846"/>
            <a:ext cx="8573371" cy="690573"/>
          </a:xfrm>
        </p:spPr>
        <p:txBody>
          <a:bodyPr/>
          <a:lstStyle/>
          <a:p>
            <a:r>
              <a:rPr lang="en-US" noProof="0"/>
              <a:t>Title master format, click to edi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D25FF9-AA38-4F4A-BB50-895AFA8F3FAB}" type="slidenum">
              <a:rPr lang="en-US" smtClean="0">
                <a:solidFill>
                  <a:srgbClr val="003399"/>
                </a:solidFill>
              </a:rPr>
              <a:pPr/>
              <a:t>‹#›</a:t>
            </a:fld>
            <a:endParaRPr lang="en-US">
              <a:solidFill>
                <a:srgbClr val="003399"/>
              </a:solidFill>
            </a:endParaRPr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2"/>
          </p:nvPr>
        </p:nvSpPr>
        <p:spPr>
          <a:xfrm>
            <a:off x="7512834" y="7281335"/>
            <a:ext cx="1702807" cy="227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89"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115603" y="1001889"/>
            <a:ext cx="8573371" cy="381000"/>
          </a:xfrm>
        </p:spPr>
        <p:txBody>
          <a:bodyPr/>
          <a:lstStyle>
            <a:lvl1pPr>
              <a:defRPr sz="1556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Sub title master format, click to edit</a:t>
            </a:r>
          </a:p>
        </p:txBody>
      </p:sp>
      <p:sp>
        <p:nvSpPr>
          <p:cNvPr id="10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973178180"/>
      </p:ext>
    </p:extLst>
  </p:cSld>
  <p:clrMapOvr>
    <a:masterClrMapping/>
  </p:clrMapOvr>
  <p:transition spd="slow">
    <p:wip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 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2820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2820" cy="1763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06306" y="73846"/>
            <a:ext cx="8573371" cy="690573"/>
          </a:xfrm>
        </p:spPr>
        <p:txBody>
          <a:bodyPr/>
          <a:lstStyle/>
          <a:p>
            <a:r>
              <a:rPr lang="en-US" noProof="0" dirty="0"/>
              <a:t>Title Master Format, click to edi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/>
        <p:txBody>
          <a:bodyPr/>
          <a:lstStyle/>
          <a:p>
            <a:pPr lvl="0"/>
            <a:r>
              <a:rPr lang="en-US" noProof="0" dirty="0"/>
              <a:t>Text level 1</a:t>
            </a:r>
          </a:p>
          <a:p>
            <a:pPr lvl="1"/>
            <a:r>
              <a:rPr lang="en-US" noProof="0" dirty="0"/>
              <a:t>Text level 2</a:t>
            </a:r>
          </a:p>
          <a:p>
            <a:pPr lvl="2"/>
            <a:r>
              <a:rPr lang="en-US" noProof="0" dirty="0"/>
              <a:t>Text level 3</a:t>
            </a:r>
          </a:p>
          <a:p>
            <a:pPr lvl="3"/>
            <a:r>
              <a:rPr lang="en-US" noProof="0" dirty="0"/>
              <a:t>Text level 4</a:t>
            </a:r>
          </a:p>
          <a:p>
            <a:pPr lvl="4"/>
            <a:r>
              <a:rPr lang="en-US" noProof="0" dirty="0"/>
              <a:t>Text level 5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06D25FF9-AA38-4F4A-BB50-895AFA8F3FAB}" type="slidenum">
              <a:rPr lang="en-US" smtClean="0">
                <a:solidFill>
                  <a:srgbClr val="003399"/>
                </a:solidFill>
              </a:rPr>
              <a:pPr/>
              <a:t>‹#›</a:t>
            </a:fld>
            <a:endParaRPr lang="en-US">
              <a:solidFill>
                <a:srgbClr val="003399"/>
              </a:solidFill>
            </a:endParaRPr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2"/>
            <p:custDataLst>
              <p:tags r:id="rId6"/>
            </p:custDataLst>
          </p:nvPr>
        </p:nvSpPr>
        <p:spPr>
          <a:xfrm>
            <a:off x="7512834" y="7281335"/>
            <a:ext cx="1702807" cy="2272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89"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115603" y="1001889"/>
            <a:ext cx="8573371" cy="381000"/>
          </a:xfrm>
        </p:spPr>
        <p:txBody>
          <a:bodyPr/>
          <a:lstStyle>
            <a:lvl1pPr>
              <a:defRPr sz="1556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Sub title master format, click to edit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207333367"/>
      </p:ext>
    </p:extLst>
  </p:cSld>
  <p:clrMapOvr>
    <a:masterClrMapping/>
  </p:clrMapOvr>
  <p:transition spd="slow">
    <p:wip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0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33"/>
              </a:spcBef>
              <a:defRPr sz="2889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222" b="0">
                <a:solidFill>
                  <a:schemeClr val="bg1"/>
                </a:solidFill>
              </a:defRPr>
            </a:lvl1pPr>
            <a:lvl2pPr marL="507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29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2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29"/>
            <a:ext cx="1760196" cy="405694"/>
          </a:xfrm>
        </p:spPr>
        <p:txBody>
          <a:bodyPr>
            <a:normAutofit/>
          </a:bodyPr>
          <a:lstStyle>
            <a:lvl1pPr algn="r">
              <a:defRPr sz="122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29"/>
            <a:ext cx="2160240" cy="405694"/>
          </a:xfrm>
        </p:spPr>
        <p:txBody>
          <a:bodyPr>
            <a:normAutofit/>
          </a:bodyPr>
          <a:lstStyle>
            <a:lvl1pPr algn="r">
              <a:defRPr sz="1222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583694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64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809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52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4114763"/>
            <a:ext cx="9552450" cy="264482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315249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4" y="1329725"/>
            <a:ext cx="9552450" cy="54400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407939406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4" y="1329725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4" y="1329725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31198986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02776723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4" y="1569752"/>
            <a:ext cx="9552450" cy="5200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83378829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4" y="1569752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4" y="1569752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older 3"/>
          <p:cNvSpPr txBox="1">
            <a:spLocks/>
          </p:cNvSpPr>
          <p:nvPr userDrawn="1"/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/>
            <a:r>
              <a:rPr lang="en-US" spc="70"/>
              <a:t>©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Wester</a:t>
            </a:r>
            <a:r>
              <a:rPr lang="en-US" spc="50"/>
              <a:t>n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35"/>
              <a:t>Cap</a:t>
            </a:r>
            <a:r>
              <a:rPr lang="en-US" spc="25"/>
              <a:t>e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Governmen</a:t>
            </a:r>
            <a:r>
              <a:rPr lang="en-US" spc="20"/>
              <a:t>t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20"/>
              <a:t>|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45"/>
              <a:t>Chie</a:t>
            </a:r>
            <a:r>
              <a:rPr lang="en-US" spc="20"/>
              <a:t>f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Director</a:t>
            </a:r>
            <a:r>
              <a:rPr lang="en-US" spc="25"/>
              <a:t>: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Strategic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Managemen</a:t>
            </a:r>
            <a:r>
              <a:rPr lang="en-US" spc="20"/>
              <a:t>t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Information</a:t>
            </a:r>
            <a:endParaRPr lang="en-US" spc="60" dirty="0"/>
          </a:p>
        </p:txBody>
      </p:sp>
    </p:spTree>
    <p:extLst>
      <p:ext uri="{BB962C8B-B14F-4D97-AF65-F5344CB8AC3E}">
        <p14:creationId xmlns:p14="http://schemas.microsoft.com/office/powerpoint/2010/main" val="58493113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10945758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4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41524672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4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4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07691553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04496000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4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60553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56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56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56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610788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4" y="1569752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4" y="1569752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84905236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71656002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099" y="2529859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556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867"/>
            <a:ext cx="10096500" cy="189777"/>
          </a:xfrm>
          <a:prstGeom prst="rect">
            <a:avLst/>
          </a:prstGeom>
        </p:spPr>
      </p:pic>
      <p:sp>
        <p:nvSpPr>
          <p:cNvPr id="8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82877981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4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52"/>
            <a:ext cx="6080676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0663012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40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4" y="1569752"/>
            <a:ext cx="6672130" cy="5200053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960280522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4" y="3924646"/>
            <a:ext cx="9552450" cy="283494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46686708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4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66594509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2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86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0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4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83852865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2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86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0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4" y="4114763"/>
            <a:ext cx="9552450" cy="264482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77584328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4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34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34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8437139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58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58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58" y="5044811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56" y="1569758"/>
            <a:ext cx="6171092" cy="51843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7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089339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36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36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36" y="5044766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4" y="1569753"/>
            <a:ext cx="6171092" cy="51843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4" y="1155532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27179645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7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556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7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6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2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5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49997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49996" y="4492335"/>
            <a:ext cx="4148954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3" y="628557"/>
            <a:ext cx="2645276" cy="63953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556" dirty="0">
                <a:solidFill>
                  <a:prstClr val="white"/>
                </a:solidFill>
              </a:rPr>
              <a:t>Contact Us</a:t>
            </a:r>
            <a:endParaRPr lang="en-GB" sz="2667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5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1222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257353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3" y="4290054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667"/>
              </a:spcAft>
            </a:pPr>
            <a:r>
              <a:rPr lang="en-US" sz="3556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01"/>
            <a:ext cx="10160000" cy="274159"/>
          </a:xfrm>
          <a:prstGeom prst="rect">
            <a:avLst/>
          </a:prstGeom>
        </p:spPr>
      </p:pic>
      <p:sp>
        <p:nvSpPr>
          <p:cNvPr id="4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454457751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1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33"/>
              </a:spcBef>
              <a:defRPr sz="2889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222" b="0">
                <a:solidFill>
                  <a:schemeClr val="bg1"/>
                </a:solidFill>
              </a:defRPr>
            </a:lvl1pPr>
            <a:lvl2pPr marL="507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37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2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37"/>
            <a:ext cx="1760196" cy="405694"/>
          </a:xfrm>
        </p:spPr>
        <p:txBody>
          <a:bodyPr>
            <a:normAutofit/>
          </a:bodyPr>
          <a:lstStyle>
            <a:lvl1pPr algn="r">
              <a:defRPr sz="122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37"/>
            <a:ext cx="2160240" cy="405694"/>
          </a:xfrm>
        </p:spPr>
        <p:txBody>
          <a:bodyPr>
            <a:normAutofit/>
          </a:bodyPr>
          <a:lstStyle>
            <a:lvl1pPr algn="r">
              <a:defRPr sz="1222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972098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9552450" cy="54400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630209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6" y="1329728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56111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52817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569761"/>
            <a:ext cx="9552450" cy="5200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930945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61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61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812587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0576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9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556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9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50016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50016" y="4492335"/>
            <a:ext cx="4148954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3" y="628558"/>
            <a:ext cx="2645276" cy="63953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556" dirty="0">
                <a:solidFill>
                  <a:prstClr val="white"/>
                </a:solidFill>
              </a:rPr>
              <a:t>Contact Us</a:t>
            </a:r>
            <a:endParaRPr lang="en-GB" sz="2667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7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1222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767876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6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2623537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6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6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118675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74884378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603452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7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57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638798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506974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103" y="2529867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556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876"/>
            <a:ext cx="10096500" cy="189777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1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286429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61"/>
            <a:ext cx="6080676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750878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45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6" y="1569752"/>
            <a:ext cx="6672130" cy="5200053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6093453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3924646"/>
            <a:ext cx="9552450" cy="283494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55479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500" b="0" i="0">
                <a:solidFill>
                  <a:srgbClr val="003399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754026" y="2209892"/>
            <a:ext cx="3990975" cy="42106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rgbClr val="956E8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553307" y="2047789"/>
            <a:ext cx="3552190" cy="4774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80" dirty="0"/>
              <a:t>‹#›</a:t>
            </a:fld>
            <a:endParaRPr spc="80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4" y="4290093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667"/>
              </a:spcAft>
            </a:pPr>
            <a:r>
              <a:rPr lang="en-US" sz="3556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45"/>
            <a:ext cx="10160000" cy="27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18924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4314892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6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1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580367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6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1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4114763"/>
            <a:ext cx="9552450" cy="264482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067710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38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38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9529830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40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40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40" y="5044775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8" y="1569758"/>
            <a:ext cx="6171092" cy="51843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8915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9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556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9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50002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50001" y="4492335"/>
            <a:ext cx="4148954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3" y="628558"/>
            <a:ext cx="2645276" cy="63953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556" dirty="0">
                <a:solidFill>
                  <a:prstClr val="white"/>
                </a:solidFill>
              </a:rPr>
              <a:t>Contact Us</a:t>
            </a:r>
            <a:endParaRPr lang="en-GB" sz="2667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7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1222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433156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4" y="4290063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667"/>
              </a:spcAft>
            </a:pPr>
            <a:r>
              <a:rPr lang="en-US" sz="3556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09"/>
            <a:ext cx="10160000" cy="27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949789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1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50"/>
              </a:spcBef>
              <a:defRPr sz="2167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667" b="0">
                <a:solidFill>
                  <a:schemeClr val="bg1"/>
                </a:solidFill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36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7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36"/>
            <a:ext cx="1760196" cy="405694"/>
          </a:xfrm>
        </p:spPr>
        <p:txBody>
          <a:bodyPr>
            <a:normAutofit/>
          </a:bodyPr>
          <a:lstStyle>
            <a:lvl1pPr algn="r">
              <a:defRPr sz="91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36"/>
            <a:ext cx="2160240" cy="405694"/>
          </a:xfrm>
        </p:spPr>
        <p:txBody>
          <a:bodyPr>
            <a:normAutofit/>
          </a:bodyPr>
          <a:lstStyle>
            <a:lvl1pPr algn="r">
              <a:defRPr sz="917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0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9552450" cy="54400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649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4511890" cy="5440081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6" y="1329728"/>
            <a:ext cx="4511890" cy="5440081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858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436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910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569760"/>
            <a:ext cx="9552450" cy="5200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2024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60"/>
            <a:ext cx="4511890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60"/>
            <a:ext cx="4511890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792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961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3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6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967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3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6" y="1329725"/>
            <a:ext cx="4511890" cy="49856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6" y="1329725"/>
            <a:ext cx="4511890" cy="49856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823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3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3210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3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158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7"/>
            <a:ext cx="4511890" cy="475715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3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57"/>
            <a:ext cx="4511890" cy="475715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655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3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2557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" y="0"/>
            <a:ext cx="10158412" cy="762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8086" y="201084"/>
            <a:ext cx="9450917" cy="97366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111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8086" y="1407593"/>
            <a:ext cx="9450917" cy="50270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Century Gothic" pitchFamily="34" charset="0"/>
              </a:defRPr>
            </a:lvl1pPr>
            <a:lvl2pPr marL="201081" indent="-201081" algn="l">
              <a:buFont typeface="Arial" pitchFamily="34" charset="0"/>
              <a:buChar char="•"/>
              <a:defRPr sz="1556">
                <a:solidFill>
                  <a:schemeClr val="tx1"/>
                </a:solidFill>
                <a:latin typeface="Century Gothic" pitchFamily="34" charset="0"/>
              </a:defRPr>
            </a:lvl2pPr>
            <a:lvl3pPr marL="101599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27717730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102" y="2529866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2667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875"/>
            <a:ext cx="10096500" cy="189777"/>
          </a:xfrm>
          <a:prstGeom prst="rect">
            <a:avLst/>
          </a:prstGeom>
        </p:spPr>
      </p:pic>
      <p:pic>
        <p:nvPicPr>
          <p:cNvPr id="8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17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8448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60"/>
            <a:ext cx="6080676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701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45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6" y="1569752"/>
            <a:ext cx="6672130" cy="5200053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4547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3924646"/>
            <a:ext cx="9552450" cy="283494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174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088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5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1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180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5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1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4114763"/>
            <a:ext cx="9552450" cy="264482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58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38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38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6629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40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40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40" y="5044774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7" y="1569758"/>
            <a:ext cx="6171093" cy="51843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8405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9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1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9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4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8" y="3886092"/>
            <a:ext cx="447416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4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8" y="3886092"/>
            <a:ext cx="447416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50001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50001" y="4492335"/>
            <a:ext cx="4148954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4" y="628558"/>
            <a:ext cx="2032929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67" dirty="0">
                <a:solidFill>
                  <a:prstClr val="white"/>
                </a:solidFill>
              </a:rPr>
              <a:t>Contact Us</a:t>
            </a:r>
            <a:endParaRPr lang="en-GB" sz="20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7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917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1908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508000" y="6939139"/>
            <a:ext cx="2370667" cy="52916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492334" y="7186833"/>
            <a:ext cx="4598414" cy="25648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AF199F-4313-4535-B331-9EB3722548F7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05963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5" y="4290062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000"/>
              </a:spcAft>
            </a:pPr>
            <a:r>
              <a:rPr lang="en-US" sz="2667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08"/>
            <a:ext cx="10160000" cy="27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30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059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707" y="396251"/>
            <a:ext cx="9293264" cy="6155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51573" y="7098343"/>
            <a:ext cx="403940" cy="165363"/>
          </a:xfrm>
          <a:prstGeom prst="rect">
            <a:avLst/>
          </a:prstGeom>
        </p:spPr>
        <p:txBody>
          <a:bodyPr lIns="91421" tIns="45711" rIns="91421" bIns="45711"/>
          <a:lstStyle/>
          <a:p>
            <a:pPr defTabSz="761909"/>
            <a:fld id="{1DC70519-3D27-4D5B-A312-0DC52B8ED593}" type="slidenum">
              <a:rPr lang="en-US" smtClean="0">
                <a:solidFill>
                  <a:srgbClr val="595959"/>
                </a:solidFill>
              </a:rPr>
              <a:pPr defTabSz="761909"/>
              <a:t>‹#›</a:t>
            </a:fld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4" name="Slide Number Placeholder 5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60000" tIns="6000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rgbClr val="002060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750" smtClean="0"/>
              <a:pPr/>
              <a:t>‹#›</a:t>
            </a:fld>
            <a:endParaRPr lang="en-ZA" sz="75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940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762251" y="2635250"/>
            <a:ext cx="6676320" cy="22648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667">
                <a:solidFill>
                  <a:schemeClr val="bg1"/>
                </a:solidFill>
              </a:defRPr>
            </a:lvl1pPr>
            <a:lvl2pPr marL="38098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6197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3pPr>
            <a:lvl4pPr marL="1142954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4pPr>
            <a:lvl5pPr marL="1523939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5pPr>
            <a:lvl6pPr marL="1904924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6pPr>
            <a:lvl7pPr marL="2285909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7pPr>
            <a:lvl8pPr marL="2666893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8pPr>
            <a:lvl9pPr marL="3047878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6937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3"/>
            <a:ext cx="9552450" cy="454966"/>
          </a:xfrm>
          <a:prstGeom prst="rect">
            <a:avLst/>
          </a:prstGeo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39"/>
            <a:ext cx="9552450" cy="3210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673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Slide Number Placeholder 5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60000" tIns="6000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rgbClr val="002060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750" smtClean="0"/>
              <a:pPr/>
              <a:t>‹#›</a:t>
            </a:fld>
            <a:endParaRPr lang="en-ZA" sz="75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0510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-16556" y="529636"/>
            <a:ext cx="10176556" cy="7090364"/>
            <a:chOff x="-14900" y="860462"/>
            <a:chExt cx="9158900" cy="5997538"/>
          </a:xfrm>
        </p:grpSpPr>
        <p:sp>
          <p:nvSpPr>
            <p:cNvPr id="6" name="Rectangle 5"/>
            <p:cNvSpPr/>
            <p:nvPr/>
          </p:nvSpPr>
          <p:spPr>
            <a:xfrm>
              <a:off x="-14900" y="860462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 dirty="0">
                <a:solidFill>
                  <a:prstClr val="white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-14900" y="2864811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-14900" y="4869160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333022" y="860462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333022" y="2864811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333022" y="4869160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</p:grpSp>
      <p:sp>
        <p:nvSpPr>
          <p:cNvPr id="12" name="Rectangle 11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 dirty="0">
              <a:solidFill>
                <a:prstClr val="white"/>
              </a:solidFill>
            </a:endParaRP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461535" y="3325855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461538" y="956308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470542" y="5718975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" y="19452"/>
            <a:ext cx="1698910" cy="495341"/>
          </a:xfrm>
          <a:prstGeom prst="rect">
            <a:avLst/>
          </a:prstGeom>
        </p:spPr>
      </p:pic>
      <p:sp>
        <p:nvSpPr>
          <p:cNvPr id="33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66442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 dirty="0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-16556" y="529635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16556" y="2316501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16556" y="4103366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6556" y="5890231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919538" y="0"/>
            <a:ext cx="0" cy="7650427"/>
          </a:xfrm>
          <a:prstGeom prst="line">
            <a:avLst/>
          </a:prstGeom>
          <a:ln w="444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441941" y="4502107"/>
            <a:ext cx="1786868" cy="93609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441940" y="2715240"/>
            <a:ext cx="1786866" cy="93609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429659" y="6294356"/>
            <a:ext cx="1753302" cy="9450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425383" y="955045"/>
            <a:ext cx="1786866" cy="93609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7" y="22053"/>
            <a:ext cx="1646293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31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8326" y="6250427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8326" y="4824929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18326" y="3399432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8326" y="1973936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-18326" y="548439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919538" y="0"/>
            <a:ext cx="0" cy="7650427"/>
          </a:xfrm>
          <a:prstGeom prst="line">
            <a:avLst/>
          </a:prstGeom>
          <a:ln w="444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261256" y="5044158"/>
            <a:ext cx="1425499" cy="93609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252978" y="3626914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262310" y="6461705"/>
            <a:ext cx="1418604" cy="9450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269535" y="2191481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-262869" y="771013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85" indent="0">
              <a:buNone/>
              <a:defRPr/>
            </a:lvl2pPr>
            <a:lvl3pPr marL="761970" indent="0">
              <a:buNone/>
              <a:defRPr/>
            </a:lvl3pPr>
            <a:lvl4pPr marL="1142954" indent="0">
              <a:buNone/>
              <a:defRPr/>
            </a:lvl4pPr>
            <a:lvl5pPr marL="1523939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" y="19452"/>
            <a:ext cx="1698910" cy="49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651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98500" y="7062619"/>
            <a:ext cx="2286000" cy="405694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41D85-EA41-411E-8456-84B5FDBD72F1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00985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707" y="396281"/>
            <a:ext cx="9293264" cy="6155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51572" y="7098377"/>
            <a:ext cx="403940" cy="165363"/>
          </a:xfrm>
          <a:prstGeom prst="rect">
            <a:avLst/>
          </a:prstGeom>
        </p:spPr>
        <p:txBody>
          <a:bodyPr lIns="91421" tIns="45711" rIns="91421" bIns="45711"/>
          <a:lstStyle/>
          <a:p>
            <a:pPr defTabSz="1015909"/>
            <a:fld id="{1DC70519-3D27-4D5B-A312-0DC52B8ED593}" type="slidenum">
              <a:rPr lang="en-US" smtClean="0">
                <a:solidFill>
                  <a:srgbClr val="595959"/>
                </a:solidFill>
              </a:rPr>
              <a:pPr defTabSz="1015909"/>
              <a:t>‹#›</a:t>
            </a:fld>
            <a:endParaRPr lang="en-US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217076"/>
      </p:ext>
    </p:extLst>
  </p:cSld>
  <p:clrMapOvr>
    <a:masterClrMapping/>
  </p:clrMapOvr>
  <p:transition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5" y="3810001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33"/>
              </a:spcBef>
              <a:defRPr sz="2889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5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222" b="0">
                <a:solidFill>
                  <a:schemeClr val="bg1"/>
                </a:solidFill>
              </a:defRPr>
            </a:lvl1pPr>
            <a:lvl2pPr marL="507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5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1" y="5997837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2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37"/>
            <a:ext cx="1760196" cy="405694"/>
          </a:xfrm>
        </p:spPr>
        <p:txBody>
          <a:bodyPr>
            <a:normAutofit/>
          </a:bodyPr>
          <a:lstStyle>
            <a:lvl1pPr algn="r">
              <a:defRPr sz="122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37"/>
            <a:ext cx="2160240" cy="405694"/>
          </a:xfrm>
        </p:spPr>
        <p:txBody>
          <a:bodyPr>
            <a:normAutofit/>
          </a:bodyPr>
          <a:lstStyle>
            <a:lvl1pPr algn="r">
              <a:defRPr sz="1222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3958813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9"/>
            <a:ext cx="9552450" cy="54400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125629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9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6" y="1329729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29971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94046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569762"/>
            <a:ext cx="9552450" cy="5200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958327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62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62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533889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448933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6" y="1329726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4350599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6" y="1329726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6" y="1329726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100645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0362244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1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50"/>
              </a:spcBef>
              <a:defRPr sz="2167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667" b="0">
                <a:solidFill>
                  <a:schemeClr val="bg1"/>
                </a:solidFill>
              </a:defRPr>
            </a:lvl1pPr>
            <a:lvl2pPr marL="380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97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17">
                <a:solidFill>
                  <a:schemeClr val="bg1"/>
                </a:solidFill>
              </a:defRPr>
            </a:lvl1pPr>
          </a:lstStyle>
          <a:p>
            <a:endParaRPr lang="en-GB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97"/>
            <a:ext cx="1760196" cy="405694"/>
          </a:xfrm>
        </p:spPr>
        <p:txBody>
          <a:bodyPr>
            <a:normAutofit/>
          </a:bodyPr>
          <a:lstStyle>
            <a:lvl1pPr algn="r">
              <a:defRPr sz="91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97"/>
            <a:ext cx="2160240" cy="405694"/>
          </a:xfrm>
        </p:spPr>
        <p:txBody>
          <a:bodyPr>
            <a:normAutofit/>
          </a:bodyPr>
          <a:lstStyle>
            <a:lvl1pPr algn="r">
              <a:defRPr sz="917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18817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14879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8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58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3828182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1C475-9EB9-4EDE-980C-20AA286ED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4B9CC3-3CC4-48E5-9C63-CC97D069AB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A5F1A-5522-47B8-BDF0-A6B26404C5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endParaRPr lang="en-US" spc="6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0F06CD-CAF8-49B9-B8DD-00664A1F826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C0911D-515C-42A6-976A-8841E14E4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lang="en-US" spc="80" smtClean="0"/>
              <a:t>‹#›</a:t>
            </a:fld>
            <a:endParaRPr lang="en-US" spc="80" dirty="0"/>
          </a:p>
        </p:txBody>
      </p:sp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104" y="2529867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556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877"/>
            <a:ext cx="10096500" cy="189777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8" y="6832320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176051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2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62"/>
            <a:ext cx="6080676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496262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46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6" y="1569752"/>
            <a:ext cx="6672130" cy="5200053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5822969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3924646"/>
            <a:ext cx="9552450" cy="283494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504532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974538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6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2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9551643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6" y="1569752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2" y="1569752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1569752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4114763"/>
            <a:ext cx="9552450" cy="264482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12975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9552450" cy="54400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033677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2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38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38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3"/>
            <a:ext cx="6080676" cy="518297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240036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40" y="1569752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40" y="3307260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40" y="5044776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8" y="1569759"/>
            <a:ext cx="6171092" cy="51843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9669394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9" y="2996069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556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9" y="3293235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50003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50002" y="4492335"/>
            <a:ext cx="4148954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3" y="628558"/>
            <a:ext cx="2645276" cy="63953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556" dirty="0">
                <a:solidFill>
                  <a:prstClr val="white"/>
                </a:solidFill>
              </a:rPr>
              <a:t>Contact Us</a:t>
            </a:r>
            <a:endParaRPr lang="en-GB" sz="2667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7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1222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7886088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4" y="4290064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667"/>
              </a:spcAft>
            </a:pPr>
            <a:r>
              <a:rPr lang="en-US" sz="3556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11"/>
            <a:ext cx="10160000" cy="27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598890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98500" y="7062621"/>
            <a:ext cx="2286000" cy="405694"/>
          </a:xfrm>
          <a:prstGeom prst="rect">
            <a:avLst/>
          </a:prstGeom>
        </p:spPr>
        <p:txBody>
          <a:bodyPr/>
          <a:lstStyle/>
          <a:p>
            <a:endParaRPr lang="en-ZA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srgbClr val="998F8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41D85-EA41-411E-8456-84B5FDBD72F1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48769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1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33"/>
              </a:spcBef>
              <a:defRPr sz="2889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222" b="0">
                <a:solidFill>
                  <a:schemeClr val="bg1"/>
                </a:solidFill>
              </a:defRPr>
            </a:lvl1pPr>
            <a:lvl2pPr marL="507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37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2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37"/>
            <a:ext cx="1760196" cy="405694"/>
          </a:xfrm>
        </p:spPr>
        <p:txBody>
          <a:bodyPr>
            <a:normAutofit/>
          </a:bodyPr>
          <a:lstStyle>
            <a:lvl1pPr algn="r">
              <a:defRPr sz="122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37"/>
            <a:ext cx="2160240" cy="405694"/>
          </a:xfrm>
        </p:spPr>
        <p:txBody>
          <a:bodyPr>
            <a:normAutofit/>
          </a:bodyPr>
          <a:lstStyle>
            <a:lvl1pPr algn="r">
              <a:defRPr sz="1222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5418988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9552450" cy="54400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609703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6" y="1329728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2258999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49058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569761"/>
            <a:ext cx="9552450" cy="5200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54466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4511890" cy="5440081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6" y="1329728"/>
            <a:ext cx="4511890" cy="5440081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317861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61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61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969170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024334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6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3635180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6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6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80620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685664225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4432178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7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57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1071660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4468957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103" y="2529867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556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876"/>
            <a:ext cx="10096500" cy="189777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1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5659720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61"/>
            <a:ext cx="6080676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09260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006242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45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6" y="1569752"/>
            <a:ext cx="6672130" cy="5200053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0409701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3924646"/>
            <a:ext cx="9552450" cy="283494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368022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7621807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6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1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9438732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6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1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4114763"/>
            <a:ext cx="9552450" cy="264482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9073881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38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38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0739750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40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40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40" y="5044775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8" y="1569758"/>
            <a:ext cx="6171092" cy="51843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50669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9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556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9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50002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50001" y="4492335"/>
            <a:ext cx="4148954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3" y="628558"/>
            <a:ext cx="2645276" cy="63953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556" dirty="0">
                <a:solidFill>
                  <a:prstClr val="white"/>
                </a:solidFill>
              </a:rPr>
              <a:t>Contact Us</a:t>
            </a:r>
            <a:endParaRPr lang="en-GB" sz="2667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7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1222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9265309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4" y="4290063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667"/>
              </a:spcAft>
            </a:pPr>
            <a:r>
              <a:rPr lang="en-US" sz="3556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09"/>
            <a:ext cx="10160000" cy="27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568402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40FB58-9FF6-4647-ABC8-AF56A6432B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462220-996F-4204-826D-B6E526DD9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C6CA07-E0B0-4A6E-89FE-643AEE7B5C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1A10-7A71-4A9C-B9C1-D1D7630BC6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2363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569761"/>
            <a:ext cx="9552450" cy="5200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3807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500" b="0" i="0">
                <a:solidFill>
                  <a:srgbClr val="003399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80" dirty="0"/>
              <a:t>‹#›</a:t>
            </a:fld>
            <a:endParaRPr spc="80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61"/>
            <a:ext cx="4511890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61"/>
            <a:ext cx="4511890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44028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0294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6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08992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6" y="1329725"/>
            <a:ext cx="4511890" cy="49856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6" y="1329725"/>
            <a:ext cx="4511890" cy="49856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10779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1082906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413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7"/>
            <a:ext cx="4511890" cy="475715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57"/>
            <a:ext cx="4511890" cy="475715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53744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86377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133" y="2529927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2667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936"/>
            <a:ext cx="10096500" cy="189777"/>
          </a:xfrm>
          <a:prstGeom prst="rect">
            <a:avLst/>
          </a:prstGeom>
        </p:spPr>
      </p:pic>
      <p:pic>
        <p:nvPicPr>
          <p:cNvPr id="8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7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644151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68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61"/>
            <a:ext cx="6080676" cy="520005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1006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0160000" cy="7620000"/>
          </a:xfrm>
          <a:custGeom>
            <a:avLst/>
            <a:gdLst/>
            <a:ahLst/>
            <a:cxnLst/>
            <a:rect l="l" t="t" r="r" b="b"/>
            <a:pathLst>
              <a:path w="10160000" h="7620000">
                <a:moveTo>
                  <a:pt x="0" y="7619999"/>
                </a:moveTo>
                <a:lnTo>
                  <a:pt x="10159989" y="7619999"/>
                </a:lnTo>
                <a:lnTo>
                  <a:pt x="10159989" y="0"/>
                </a:lnTo>
                <a:lnTo>
                  <a:pt x="0" y="0"/>
                </a:lnTo>
                <a:lnTo>
                  <a:pt x="0" y="7619999"/>
                </a:lnTo>
                <a:close/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951820" y="6158998"/>
            <a:ext cx="9208770" cy="74295"/>
          </a:xfrm>
          <a:custGeom>
            <a:avLst/>
            <a:gdLst/>
            <a:ahLst/>
            <a:cxnLst/>
            <a:rect l="l" t="t" r="r" b="b"/>
            <a:pathLst>
              <a:path w="9208770" h="74295">
                <a:moveTo>
                  <a:pt x="9208179" y="0"/>
                </a:moveTo>
                <a:lnTo>
                  <a:pt x="0" y="73911"/>
                </a:lnTo>
                <a:lnTo>
                  <a:pt x="9208179" y="73911"/>
                </a:lnTo>
                <a:lnTo>
                  <a:pt x="9208179" y="0"/>
                </a:lnTo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80" dirty="0"/>
              <a:t>‹#›</a:t>
            </a:fld>
            <a:endParaRPr spc="80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75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6" y="1569752"/>
            <a:ext cx="6672130" cy="5200053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4795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3924646"/>
            <a:ext cx="9552450" cy="283494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68262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47747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76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821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64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60978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76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821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64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4114763"/>
            <a:ext cx="9552450" cy="2644827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91711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68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68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68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20537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70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70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70" y="5044835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167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68" y="1569758"/>
            <a:ext cx="6171092" cy="5184339"/>
          </a:xfrm>
        </p:spPr>
        <p:txBody>
          <a:bodyPr>
            <a:normAutofit/>
          </a:bodyPr>
          <a:lstStyle>
            <a:lvl1pPr>
              <a:defRPr sz="1167"/>
            </a:lvl1pPr>
            <a:lvl2pPr>
              <a:defRPr sz="1167"/>
            </a:lvl2pPr>
            <a:lvl3pPr>
              <a:defRPr sz="1167"/>
            </a:lvl3pPr>
            <a:lvl4pPr>
              <a:defRPr sz="1167"/>
            </a:lvl4pPr>
            <a:lvl5pPr>
              <a:defRPr sz="11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41417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0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9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1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9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8" y="3886092"/>
            <a:ext cx="447416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8" y="3886092"/>
            <a:ext cx="447416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50016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917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50016" y="4492335"/>
            <a:ext cx="4148954" cy="290678"/>
          </a:xfrm>
          <a:prstGeom prst="rect">
            <a:avLst/>
          </a:prstGeom>
        </p:spPr>
        <p:txBody>
          <a:bodyPr vert="horz" lIns="30000" tIns="60000" rIns="30000" bIns="60000" rtlCol="0" anchor="ctr">
            <a:noAutofit/>
          </a:bodyPr>
          <a:lstStyle/>
          <a:p>
            <a:pPr>
              <a:spcBef>
                <a:spcPts val="250"/>
              </a:spcBef>
              <a:buFont typeface="Arial" pitchFamily="34" charset="0"/>
              <a:buNone/>
            </a:pPr>
            <a:r>
              <a:rPr lang="en-GB" sz="917" b="1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5" y="628559"/>
            <a:ext cx="2032929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67">
                <a:solidFill>
                  <a:prstClr val="white"/>
                </a:solidFill>
              </a:rPr>
              <a:t>Contact Us</a:t>
            </a:r>
            <a:endParaRPr lang="en-GB" sz="200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7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917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58616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4" y="4290123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000"/>
              </a:spcAft>
            </a:pPr>
            <a:r>
              <a:rPr lang="en-US" sz="2667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69"/>
            <a:ext cx="10160000" cy="27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42810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9172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500" y="300706"/>
            <a:ext cx="9270999" cy="53860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201777"/>
            <a:ext cx="571556" cy="226591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2" y="7233778"/>
            <a:ext cx="4598414" cy="209535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Medium Term Budget Policy Committee Engagements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4" y="6313165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888196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762251" y="2635250"/>
            <a:ext cx="6676320" cy="226483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667">
                <a:solidFill>
                  <a:schemeClr val="bg1"/>
                </a:solidFill>
              </a:defRPr>
            </a:lvl1pPr>
            <a:lvl2pPr marL="38099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61992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3pPr>
            <a:lvl4pPr marL="1142989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4pPr>
            <a:lvl5pPr marL="1523985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5pPr>
            <a:lvl6pPr marL="1904981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6pPr>
            <a:lvl7pPr marL="2285977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7pPr>
            <a:lvl8pPr marL="2666973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8pPr>
            <a:lvl9pPr marL="3047970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5682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234"/>
            <a:ext cx="9552450" cy="454966"/>
          </a:xfrm>
          <a:prstGeom prst="rect">
            <a:avLst/>
          </a:prstGeo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67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600"/>
            <a:ext cx="9552450" cy="3210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5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428511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-16556" y="529636"/>
            <a:ext cx="10176556" cy="7090364"/>
            <a:chOff x="-14900" y="860462"/>
            <a:chExt cx="9158900" cy="5997538"/>
          </a:xfrm>
        </p:grpSpPr>
        <p:sp>
          <p:nvSpPr>
            <p:cNvPr id="6" name="Rectangle 5"/>
            <p:cNvSpPr/>
            <p:nvPr/>
          </p:nvSpPr>
          <p:spPr>
            <a:xfrm>
              <a:off x="-14900" y="860462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-14900" y="2864811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-14900" y="4869160"/>
              <a:ext cx="1331640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333022" y="860462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333022" y="2864811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333022" y="4869160"/>
              <a:ext cx="7810978" cy="19888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000" b="1">
                <a:solidFill>
                  <a:prstClr val="white"/>
                </a:solidFill>
              </a:endParaRPr>
            </a:p>
          </p:txBody>
        </p:sp>
      </p:grpSp>
      <p:sp>
        <p:nvSpPr>
          <p:cNvPr id="12" name="Rectangle 11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>
              <a:solidFill>
                <a:prstClr val="white"/>
              </a:solidFill>
            </a:endParaRP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461535" y="3325855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461538" y="956369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470542" y="5719036"/>
            <a:ext cx="2369564" cy="14795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" y="19452"/>
            <a:ext cx="1698910" cy="495341"/>
          </a:xfrm>
          <a:prstGeom prst="rect">
            <a:avLst/>
          </a:prstGeom>
        </p:spPr>
      </p:pic>
      <p:sp>
        <p:nvSpPr>
          <p:cNvPr id="33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874909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-16556" y="529635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16556" y="2316501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16556" y="4103366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6556" y="5890231"/>
            <a:ext cx="10160000" cy="1760196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919538" y="0"/>
            <a:ext cx="0" cy="7650427"/>
          </a:xfrm>
          <a:prstGeom prst="line">
            <a:avLst/>
          </a:prstGeom>
          <a:ln w="444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441941" y="4502168"/>
            <a:ext cx="1786868" cy="93609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441940" y="2715301"/>
            <a:ext cx="1786866" cy="93609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429659" y="6294417"/>
            <a:ext cx="1753302" cy="9450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425383" y="955106"/>
            <a:ext cx="1786866" cy="93609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7" y="22053"/>
            <a:ext cx="1646293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03761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 userDrawn="1"/>
        </p:nvSpPr>
        <p:spPr>
          <a:xfrm>
            <a:off x="-16556" y="0"/>
            <a:ext cx="10176556" cy="52963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ZA" sz="1500" b="1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8326" y="6250427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8326" y="4824929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18326" y="3399432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8326" y="1973936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-18326" y="548439"/>
            <a:ext cx="10160000" cy="1400000"/>
          </a:xfrm>
          <a:prstGeom prst="rect">
            <a:avLst/>
          </a:prstGeom>
          <a:ln w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500">
              <a:solidFill>
                <a:prstClr val="white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919538" y="0"/>
            <a:ext cx="0" cy="7650427"/>
          </a:xfrm>
          <a:prstGeom prst="line">
            <a:avLst/>
          </a:prstGeom>
          <a:ln w="444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0"/>
          <p:cNvSpPr>
            <a:spLocks noGrp="1"/>
          </p:cNvSpPr>
          <p:nvPr>
            <p:ph type="body" sz="quarter" idx="10" hasCustomPrompt="1"/>
          </p:nvPr>
        </p:nvSpPr>
        <p:spPr>
          <a:xfrm rot="16200000">
            <a:off x="-261256" y="5044220"/>
            <a:ext cx="1425499" cy="93609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252978" y="3626914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"/>
            <a:ext cx="10160000" cy="5296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7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-262310" y="6461766"/>
            <a:ext cx="1418604" cy="9450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-269535" y="2191481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sp>
        <p:nvSpPr>
          <p:cNvPr id="30" name="Text Placeholder 30"/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-262869" y="771013"/>
            <a:ext cx="1425498" cy="9195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333" b="1"/>
            </a:lvl1pPr>
            <a:lvl2pPr marL="380996" indent="0">
              <a:buNone/>
              <a:defRPr/>
            </a:lvl2pPr>
            <a:lvl3pPr marL="761992" indent="0">
              <a:buNone/>
              <a:defRPr/>
            </a:lvl3pPr>
            <a:lvl4pPr marL="1142989" indent="0">
              <a:buNone/>
              <a:defRPr/>
            </a:lvl4pPr>
            <a:lvl5pPr marL="1523985" indent="0">
              <a:buNone/>
              <a:defRPr/>
            </a:lvl5pPr>
          </a:lstStyle>
          <a:p>
            <a:pPr lvl="0"/>
            <a:r>
              <a:rPr lang="en-US" dirty="0"/>
              <a:t>Click to edit Band</a:t>
            </a:r>
            <a:endParaRPr lang="en-ZA" dirty="0"/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9" y="19452"/>
            <a:ext cx="1698910" cy="49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0356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6" b="5694"/>
          <a:stretch/>
        </p:blipFill>
        <p:spPr>
          <a:xfrm>
            <a:off x="0" y="0"/>
            <a:ext cx="10159206" cy="762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0159206" cy="1083733"/>
          </a:xfrm>
          <a:prstGeom prst="rect">
            <a:avLst/>
          </a:prstGeom>
          <a:gradFill flip="none" rotWithShape="1">
            <a:gsLst>
              <a:gs pos="83000">
                <a:srgbClr val="003399"/>
              </a:gs>
              <a:gs pos="19000">
                <a:srgbClr val="003399"/>
              </a:gs>
              <a:gs pos="5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1"/>
            <a:tileRect/>
          </a:gradFill>
          <a:scene3d>
            <a:camera prst="orthographicFront"/>
            <a:lightRig rig="threePt" dir="t"/>
          </a:scene3d>
          <a:sp3d>
            <a:bevelT/>
          </a:sp3d>
        </p:spPr>
        <p:txBody>
          <a:bodyPr anchor="ctr">
            <a:normAutofit fontScale="90000"/>
          </a:bodyPr>
          <a:lstStyle>
            <a:lvl1pPr>
              <a:defRPr lang="en-ZA" sz="3111" b="1" dirty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8084" y="1407584"/>
            <a:ext cx="9450917" cy="50270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Century Gothic" pitchFamily="34" charset="0"/>
              </a:defRPr>
            </a:lvl1pPr>
            <a:lvl2pPr marL="201081" indent="-201081" algn="l">
              <a:buFont typeface="Arial" pitchFamily="34" charset="0"/>
              <a:buChar char="•"/>
              <a:defRPr sz="1556">
                <a:solidFill>
                  <a:schemeClr val="tx1"/>
                </a:solidFill>
                <a:latin typeface="Century Gothic" pitchFamily="34" charset="0"/>
              </a:defRPr>
            </a:lvl2pPr>
            <a:lvl3pPr marL="101599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4294967295"/>
          </p:nvPr>
        </p:nvSpPr>
        <p:spPr>
          <a:xfrm>
            <a:off x="7642578" y="7174795"/>
            <a:ext cx="1945922" cy="433917"/>
          </a:xfrm>
          <a:prstGeom prst="rect">
            <a:avLst/>
          </a:prstGeom>
        </p:spPr>
        <p:txBody>
          <a:bodyPr/>
          <a:lstStyle>
            <a:lvl1pPr>
              <a:defRPr sz="1333">
                <a:latin typeface="Century Gothic" panose="020B0502020202020204" pitchFamily="34" charset="0"/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6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" y="6872333"/>
            <a:ext cx="2119857" cy="661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30919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1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33"/>
              </a:spcBef>
              <a:defRPr sz="2889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222" b="0">
                <a:solidFill>
                  <a:schemeClr val="bg1"/>
                </a:solidFill>
              </a:defRPr>
            </a:lvl1pPr>
            <a:lvl2pPr marL="507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37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2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37"/>
            <a:ext cx="1760196" cy="405694"/>
          </a:xfrm>
        </p:spPr>
        <p:txBody>
          <a:bodyPr>
            <a:normAutofit/>
          </a:bodyPr>
          <a:lstStyle>
            <a:lvl1pPr algn="r">
              <a:defRPr sz="122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37"/>
            <a:ext cx="2160240" cy="405694"/>
          </a:xfrm>
        </p:spPr>
        <p:txBody>
          <a:bodyPr>
            <a:normAutofit/>
          </a:bodyPr>
          <a:lstStyle>
            <a:lvl1pPr algn="r">
              <a:defRPr sz="1222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8515654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9552450" cy="54400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7819125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6" y="1329728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00700031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Holder 3"/>
          <p:cNvSpPr txBox="1">
            <a:spLocks/>
          </p:cNvSpPr>
          <p:nvPr userDrawn="1"/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/>
            <a:r>
              <a:rPr lang="en-US" spc="70"/>
              <a:t>©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Wester</a:t>
            </a:r>
            <a:r>
              <a:rPr lang="en-US" spc="50"/>
              <a:t>n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35"/>
              <a:t>Cap</a:t>
            </a:r>
            <a:r>
              <a:rPr lang="en-US" spc="25"/>
              <a:t>e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Governmen</a:t>
            </a:r>
            <a:r>
              <a:rPr lang="en-US" spc="20"/>
              <a:t>t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20"/>
              <a:t>|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45"/>
              <a:t>Chie</a:t>
            </a:r>
            <a:r>
              <a:rPr lang="en-US" spc="20"/>
              <a:t>f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Director</a:t>
            </a:r>
            <a:r>
              <a:rPr lang="en-US" spc="25"/>
              <a:t>: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Strategic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Managemen</a:t>
            </a:r>
            <a:r>
              <a:rPr lang="en-US" spc="20"/>
              <a:t>t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Information</a:t>
            </a:r>
            <a:endParaRPr lang="en-US" spc="60" dirty="0"/>
          </a:p>
        </p:txBody>
      </p:sp>
    </p:spTree>
    <p:extLst>
      <p:ext uri="{BB962C8B-B14F-4D97-AF65-F5344CB8AC3E}">
        <p14:creationId xmlns:p14="http://schemas.microsoft.com/office/powerpoint/2010/main" val="103297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1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33"/>
              </a:spcBef>
              <a:defRPr sz="2889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222" b="0">
                <a:solidFill>
                  <a:schemeClr val="bg1"/>
                </a:solidFill>
              </a:defRPr>
            </a:lvl1pPr>
            <a:lvl2pPr marL="507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73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2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73"/>
            <a:ext cx="1760196" cy="405694"/>
          </a:xfrm>
        </p:spPr>
        <p:txBody>
          <a:bodyPr>
            <a:normAutofit/>
          </a:bodyPr>
          <a:lstStyle>
            <a:lvl1pPr algn="r">
              <a:defRPr sz="122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73"/>
            <a:ext cx="2160240" cy="405694"/>
          </a:xfrm>
        </p:spPr>
        <p:txBody>
          <a:bodyPr>
            <a:normAutofit/>
          </a:bodyPr>
          <a:lstStyle>
            <a:lvl1pPr algn="r">
              <a:defRPr sz="1222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110891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569761"/>
            <a:ext cx="9552450" cy="5200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3546960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61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61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80570811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42044903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6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40478481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6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6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Holder 3"/>
          <p:cNvSpPr txBox="1">
            <a:spLocks/>
          </p:cNvSpPr>
          <p:nvPr userDrawn="1"/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/>
            <a:r>
              <a:rPr lang="en-US" spc="70"/>
              <a:t>©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Wester</a:t>
            </a:r>
            <a:r>
              <a:rPr lang="en-US" spc="50"/>
              <a:t>n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35"/>
              <a:t>Cap</a:t>
            </a:r>
            <a:r>
              <a:rPr lang="en-US" spc="25"/>
              <a:t>e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Governmen</a:t>
            </a:r>
            <a:r>
              <a:rPr lang="en-US" spc="20"/>
              <a:t>t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20"/>
              <a:t>|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45"/>
              <a:t>Chie</a:t>
            </a:r>
            <a:r>
              <a:rPr lang="en-US" spc="20"/>
              <a:t>f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Director</a:t>
            </a:r>
            <a:r>
              <a:rPr lang="en-US" spc="25"/>
              <a:t>: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Strategic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Managemen</a:t>
            </a:r>
            <a:r>
              <a:rPr lang="en-US" spc="20"/>
              <a:t>t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Information</a:t>
            </a:r>
            <a:endParaRPr lang="en-US" spc="60" dirty="0"/>
          </a:p>
        </p:txBody>
      </p:sp>
    </p:spTree>
    <p:extLst>
      <p:ext uri="{BB962C8B-B14F-4D97-AF65-F5344CB8AC3E}">
        <p14:creationId xmlns:p14="http://schemas.microsoft.com/office/powerpoint/2010/main" val="190960601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69006463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2"/>
            <a:ext cx="9552450" cy="47456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4420572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57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57"/>
            <a:ext cx="4511890" cy="475715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68583549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63913765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9103" y="2529867"/>
            <a:ext cx="9201434" cy="1040694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556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" y="6129876"/>
            <a:ext cx="10096500" cy="189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2496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9552450" cy="54400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Holder 3"/>
          <p:cNvSpPr txBox="1">
            <a:spLocks/>
          </p:cNvSpPr>
          <p:nvPr userDrawn="1"/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/>
            <a:r>
              <a:rPr lang="en-US" spc="70"/>
              <a:t>©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Wester</a:t>
            </a:r>
            <a:r>
              <a:rPr lang="en-US" spc="50"/>
              <a:t>n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35"/>
              <a:t>Cap</a:t>
            </a:r>
            <a:r>
              <a:rPr lang="en-US" spc="25"/>
              <a:t>e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Governmen</a:t>
            </a:r>
            <a:r>
              <a:rPr lang="en-US" spc="20"/>
              <a:t>t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20"/>
              <a:t>|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45"/>
              <a:t>Chie</a:t>
            </a:r>
            <a:r>
              <a:rPr lang="en-US" spc="20"/>
              <a:t>f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Director</a:t>
            </a:r>
            <a:r>
              <a:rPr lang="en-US" spc="25"/>
              <a:t>: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Strategic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Managemen</a:t>
            </a:r>
            <a:r>
              <a:rPr lang="en-US" spc="20"/>
              <a:t>t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Information</a:t>
            </a:r>
            <a:endParaRPr lang="en-US" spc="60" dirty="0"/>
          </a:p>
        </p:txBody>
      </p:sp>
    </p:spTree>
    <p:extLst>
      <p:ext uri="{BB962C8B-B14F-4D97-AF65-F5344CB8AC3E}">
        <p14:creationId xmlns:p14="http://schemas.microsoft.com/office/powerpoint/2010/main" val="238598657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1"/>
            <a:ext cx="3231748" cy="520005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831608" y="1569761"/>
            <a:ext cx="6080676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23854830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0245" y="1569751"/>
            <a:ext cx="2671686" cy="520005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59836" y="1569752"/>
            <a:ext cx="6672130" cy="5200053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97337196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1569751"/>
            <a:ext cx="4357416" cy="20802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3924646"/>
            <a:ext cx="9552450" cy="283494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78957517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1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554868" y="4050027"/>
            <a:ext cx="4357416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98722604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6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1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4050027"/>
            <a:ext cx="2917254" cy="2560284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1569751"/>
            <a:ext cx="9552450" cy="2381360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473689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2546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658791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95034" y="1569751"/>
            <a:ext cx="2917254" cy="240026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6" y="4114763"/>
            <a:ext cx="9552450" cy="2644827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96994660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9838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59838" y="3305755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9838" y="5041760"/>
            <a:ext cx="3231748" cy="1712331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31608" y="1569752"/>
            <a:ext cx="6080676" cy="518297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3512444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680540" y="1569751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80540" y="3307259"/>
            <a:ext cx="3231748" cy="1680187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680540" y="5044775"/>
            <a:ext cx="3231748" cy="172087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556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59838" y="1569758"/>
            <a:ext cx="6171092" cy="51843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0553095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427862" y="1988969"/>
            <a:ext cx="5280587" cy="3200356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9999" y="2996068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556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999" y="3293234"/>
            <a:ext cx="4330270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85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1499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00133" y="3882261"/>
            <a:ext cx="1600178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311598" y="3886092"/>
            <a:ext cx="447416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150002" y="4187298"/>
            <a:ext cx="4148954" cy="295913"/>
          </a:xfrm>
        </p:spPr>
        <p:txBody>
          <a:bodyPr lIns="36000" rIns="36000" anchor="ctr">
            <a:noAutofit/>
          </a:bodyPr>
          <a:lstStyle>
            <a:lvl1pPr>
              <a:defRPr sz="1222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150001" y="4492335"/>
            <a:ext cx="4148954" cy="290678"/>
          </a:xfrm>
          <a:prstGeom prst="rect">
            <a:avLst/>
          </a:prstGeom>
        </p:spPr>
        <p:txBody>
          <a:bodyPr vert="horz" lIns="40000" tIns="80000" rIns="40000" bIns="80000" rtlCol="0" anchor="ctr">
            <a:noAutofit/>
          </a:bodyPr>
          <a:lstStyle/>
          <a:p>
            <a:pPr>
              <a:spcBef>
                <a:spcPts val="333"/>
              </a:spcBef>
              <a:buFont typeface="Arial" pitchFamily="34" charset="0"/>
              <a:buNone/>
            </a:pPr>
            <a:r>
              <a:rPr lang="en-GB" sz="1222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28083" y="628558"/>
            <a:ext cx="2645276" cy="63953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556" dirty="0">
                <a:solidFill>
                  <a:prstClr val="white"/>
                </a:solidFill>
              </a:rPr>
              <a:t>Contact Us</a:t>
            </a:r>
            <a:endParaRPr lang="en-GB" sz="2667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149997" y="4815022"/>
            <a:ext cx="3721478" cy="295913"/>
          </a:xfrm>
        </p:spPr>
        <p:txBody>
          <a:bodyPr lIns="36000" rIns="36000" anchor="ctr">
            <a:noAutofit/>
          </a:bodyPr>
          <a:lstStyle>
            <a:lvl1pPr>
              <a:defRPr sz="1222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0" y="2122954"/>
            <a:ext cx="2717851" cy="766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04658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959654" y="4290063"/>
            <a:ext cx="8000889" cy="120379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667"/>
              </a:spcAft>
            </a:pPr>
            <a:r>
              <a:rPr lang="en-US" sz="3556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582009"/>
            <a:ext cx="10160000" cy="27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4925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34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6" y="1329728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525987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494" y="3810001"/>
            <a:ext cx="9121013" cy="11201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33"/>
              </a:spcBef>
              <a:defRPr sz="2889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872987"/>
            <a:ext cx="10160000" cy="548318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19494" y="5036142"/>
            <a:ext cx="9121013" cy="565058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222" b="0">
                <a:solidFill>
                  <a:schemeClr val="bg1"/>
                </a:solidFill>
              </a:defRPr>
            </a:lvl1pPr>
            <a:lvl2pPr marL="507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3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39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47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5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63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960320" y="5997837"/>
            <a:ext cx="1680187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2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039498" y="5997837"/>
            <a:ext cx="1760196" cy="405694"/>
          </a:xfrm>
        </p:spPr>
        <p:txBody>
          <a:bodyPr>
            <a:normAutofit/>
          </a:bodyPr>
          <a:lstStyle>
            <a:lvl1pPr algn="r">
              <a:defRPr sz="122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800080" y="5997837"/>
            <a:ext cx="2160240" cy="405694"/>
          </a:xfrm>
        </p:spPr>
        <p:txBody>
          <a:bodyPr>
            <a:normAutofit/>
          </a:bodyPr>
          <a:lstStyle>
            <a:lvl1pPr algn="r">
              <a:defRPr sz="1222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12" y="424538"/>
            <a:ext cx="6000667" cy="175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Holder 3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2913399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9552450" cy="54400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Holder 3"/>
          <p:cNvSpPr txBox="1">
            <a:spLocks/>
          </p:cNvSpPr>
          <p:nvPr userDrawn="1"/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/>
            <a:r>
              <a:rPr lang="en-US" spc="70"/>
              <a:t>©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Wester</a:t>
            </a:r>
            <a:r>
              <a:rPr lang="en-US" spc="50"/>
              <a:t>n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35"/>
              <a:t>Cap</a:t>
            </a:r>
            <a:r>
              <a:rPr lang="en-US" spc="25"/>
              <a:t>e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Governmen</a:t>
            </a:r>
            <a:r>
              <a:rPr lang="en-US" spc="20"/>
              <a:t>t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20"/>
              <a:t>|</a:t>
            </a:r>
            <a:r>
              <a:rPr lang="en-US">
                <a:latin typeface="Times New Roman"/>
                <a:cs typeface="Times New Roman"/>
              </a:rPr>
              <a:t>  </a:t>
            </a:r>
            <a:r>
              <a:rPr lang="en-US" spc="-85">
                <a:latin typeface="Times New Roman"/>
                <a:cs typeface="Times New Roman"/>
              </a:rPr>
              <a:t> </a:t>
            </a:r>
            <a:r>
              <a:rPr lang="en-US" spc="45"/>
              <a:t>Chie</a:t>
            </a:r>
            <a:r>
              <a:rPr lang="en-US" spc="20"/>
              <a:t>f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Director</a:t>
            </a:r>
            <a:r>
              <a:rPr lang="en-US" spc="25"/>
              <a:t>: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Strategic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50"/>
              <a:t>Managemen</a:t>
            </a:r>
            <a:r>
              <a:rPr lang="en-US" spc="20"/>
              <a:t>t</a:t>
            </a:r>
            <a:r>
              <a:rPr lang="en-US" spc="60">
                <a:latin typeface="Times New Roman"/>
                <a:cs typeface="Times New Roman"/>
              </a:rPr>
              <a:t> </a:t>
            </a:r>
            <a:r>
              <a:rPr lang="en-US" spc="60"/>
              <a:t>Information</a:t>
            </a:r>
            <a:endParaRPr lang="en-US" spc="60" dirty="0"/>
          </a:p>
        </p:txBody>
      </p:sp>
    </p:spTree>
    <p:extLst>
      <p:ext uri="{BB962C8B-B14F-4D97-AF65-F5344CB8AC3E}">
        <p14:creationId xmlns:p14="http://schemas.microsoft.com/office/powerpoint/2010/main" val="218084705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329728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368646" y="1329728"/>
            <a:ext cx="4511890" cy="5440081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656657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7358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8086" y="1569761"/>
            <a:ext cx="9552450" cy="5200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279473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28086" y="1569761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368646" y="1569761"/>
            <a:ext cx="4511890" cy="5200054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280519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8086" y="1155540"/>
            <a:ext cx="9552450" cy="321028"/>
          </a:xfrm>
        </p:spPr>
        <p:txBody>
          <a:bodyPr anchor="ctr">
            <a:noAutofit/>
          </a:bodyPr>
          <a:lstStyle>
            <a:lvl1pPr>
              <a:defRPr sz="20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09613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8086" y="1329725"/>
            <a:ext cx="9552450" cy="4985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959160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6" y="201084"/>
            <a:ext cx="9552450" cy="6213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28086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68646" y="1329725"/>
            <a:ext cx="4511890" cy="4985639"/>
          </a:xfrm>
        </p:spPr>
        <p:txBody>
          <a:bodyPr>
            <a:normAutofit/>
          </a:bodyPr>
          <a:lstStyle>
            <a:lvl1pPr>
              <a:defRPr sz="1556"/>
            </a:lvl1pPr>
            <a:lvl2pPr>
              <a:defRPr sz="1556"/>
            </a:lvl2pPr>
            <a:lvl3pPr>
              <a:defRPr sz="1556"/>
            </a:lvl3pPr>
            <a:lvl4pPr>
              <a:defRPr sz="1556"/>
            </a:lvl4pPr>
            <a:lvl5pPr>
              <a:defRPr sz="155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414218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8086" y="6313174"/>
            <a:ext cx="9552450" cy="454966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89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237138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5.xml"/><Relationship Id="rId18" Type="http://schemas.openxmlformats.org/officeDocument/2006/relationships/slideLayout" Target="../slideLayouts/slideLayout250.xml"/><Relationship Id="rId26" Type="http://schemas.openxmlformats.org/officeDocument/2006/relationships/slideLayout" Target="../slideLayouts/slideLayout258.xml"/><Relationship Id="rId21" Type="http://schemas.openxmlformats.org/officeDocument/2006/relationships/slideLayout" Target="../slideLayouts/slideLayout253.xml"/><Relationship Id="rId34" Type="http://schemas.openxmlformats.org/officeDocument/2006/relationships/oleObject" Target="../embeddings/oleObject9.bin"/><Relationship Id="rId7" Type="http://schemas.openxmlformats.org/officeDocument/2006/relationships/slideLayout" Target="../slideLayouts/slideLayout239.xml"/><Relationship Id="rId12" Type="http://schemas.openxmlformats.org/officeDocument/2006/relationships/slideLayout" Target="../slideLayouts/slideLayout244.xml"/><Relationship Id="rId17" Type="http://schemas.openxmlformats.org/officeDocument/2006/relationships/slideLayout" Target="../slideLayouts/slideLayout249.xml"/><Relationship Id="rId25" Type="http://schemas.openxmlformats.org/officeDocument/2006/relationships/slideLayout" Target="../slideLayouts/slideLayout257.xml"/><Relationship Id="rId33" Type="http://schemas.openxmlformats.org/officeDocument/2006/relationships/tags" Target="../tags/tag345.xml"/><Relationship Id="rId2" Type="http://schemas.openxmlformats.org/officeDocument/2006/relationships/slideLayout" Target="../slideLayouts/slideLayout234.xml"/><Relationship Id="rId16" Type="http://schemas.openxmlformats.org/officeDocument/2006/relationships/slideLayout" Target="../slideLayouts/slideLayout248.xml"/><Relationship Id="rId20" Type="http://schemas.openxmlformats.org/officeDocument/2006/relationships/slideLayout" Target="../slideLayouts/slideLayout252.xml"/><Relationship Id="rId29" Type="http://schemas.openxmlformats.org/officeDocument/2006/relationships/tags" Target="../tags/tag341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24" Type="http://schemas.openxmlformats.org/officeDocument/2006/relationships/slideLayout" Target="../slideLayouts/slideLayout256.xml"/><Relationship Id="rId32" Type="http://schemas.openxmlformats.org/officeDocument/2006/relationships/tags" Target="../tags/tag344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237.xml"/><Relationship Id="rId15" Type="http://schemas.openxmlformats.org/officeDocument/2006/relationships/slideLayout" Target="../slideLayouts/slideLayout247.xml"/><Relationship Id="rId23" Type="http://schemas.openxmlformats.org/officeDocument/2006/relationships/slideLayout" Target="../slideLayouts/slideLayout255.xml"/><Relationship Id="rId28" Type="http://schemas.openxmlformats.org/officeDocument/2006/relationships/vmlDrawing" Target="../drawings/vmlDrawing9.vml"/><Relationship Id="rId36" Type="http://schemas.openxmlformats.org/officeDocument/2006/relationships/image" Target="../media/image22.jpeg"/><Relationship Id="rId10" Type="http://schemas.openxmlformats.org/officeDocument/2006/relationships/slideLayout" Target="../slideLayouts/slideLayout242.xml"/><Relationship Id="rId19" Type="http://schemas.openxmlformats.org/officeDocument/2006/relationships/slideLayout" Target="../slideLayouts/slideLayout251.xml"/><Relationship Id="rId31" Type="http://schemas.openxmlformats.org/officeDocument/2006/relationships/tags" Target="../tags/tag343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slideLayout" Target="../slideLayouts/slideLayout246.xml"/><Relationship Id="rId22" Type="http://schemas.openxmlformats.org/officeDocument/2006/relationships/slideLayout" Target="../slideLayouts/slideLayout254.xml"/><Relationship Id="rId27" Type="http://schemas.openxmlformats.org/officeDocument/2006/relationships/theme" Target="../theme/theme10.xml"/><Relationship Id="rId30" Type="http://schemas.openxmlformats.org/officeDocument/2006/relationships/tags" Target="../tags/tag342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240.xml"/><Relationship Id="rId3" Type="http://schemas.openxmlformats.org/officeDocument/2006/relationships/slideLayout" Target="../slideLayouts/slideLayout235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1.xml"/><Relationship Id="rId18" Type="http://schemas.openxmlformats.org/officeDocument/2006/relationships/slideLayout" Target="../slideLayouts/slideLayout276.xml"/><Relationship Id="rId26" Type="http://schemas.openxmlformats.org/officeDocument/2006/relationships/vmlDrawing" Target="../drawings/vmlDrawing11.vml"/><Relationship Id="rId3" Type="http://schemas.openxmlformats.org/officeDocument/2006/relationships/slideLayout" Target="../slideLayouts/slideLayout261.xml"/><Relationship Id="rId21" Type="http://schemas.openxmlformats.org/officeDocument/2006/relationships/slideLayout" Target="../slideLayouts/slideLayout279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265.xml"/><Relationship Id="rId12" Type="http://schemas.openxmlformats.org/officeDocument/2006/relationships/slideLayout" Target="../slideLayouts/slideLayout270.xml"/><Relationship Id="rId17" Type="http://schemas.openxmlformats.org/officeDocument/2006/relationships/slideLayout" Target="../slideLayouts/slideLayout275.xml"/><Relationship Id="rId25" Type="http://schemas.openxmlformats.org/officeDocument/2006/relationships/theme" Target="../theme/theme11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60.xml"/><Relationship Id="rId16" Type="http://schemas.openxmlformats.org/officeDocument/2006/relationships/slideLayout" Target="../slideLayouts/slideLayout274.xml"/><Relationship Id="rId20" Type="http://schemas.openxmlformats.org/officeDocument/2006/relationships/slideLayout" Target="../slideLayouts/slideLayout278.xml"/><Relationship Id="rId29" Type="http://schemas.openxmlformats.org/officeDocument/2006/relationships/tags" Target="../tags/tag376.x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1" Type="http://schemas.openxmlformats.org/officeDocument/2006/relationships/slideLayout" Target="../slideLayouts/slideLayout269.xml"/><Relationship Id="rId24" Type="http://schemas.openxmlformats.org/officeDocument/2006/relationships/slideLayout" Target="../slideLayouts/slideLayout282.xml"/><Relationship Id="rId32" Type="http://schemas.openxmlformats.org/officeDocument/2006/relationships/oleObject" Target="../embeddings/oleObject11.bin"/><Relationship Id="rId5" Type="http://schemas.openxmlformats.org/officeDocument/2006/relationships/slideLayout" Target="../slideLayouts/slideLayout263.xml"/><Relationship Id="rId15" Type="http://schemas.openxmlformats.org/officeDocument/2006/relationships/slideLayout" Target="../slideLayouts/slideLayout273.xml"/><Relationship Id="rId23" Type="http://schemas.openxmlformats.org/officeDocument/2006/relationships/slideLayout" Target="../slideLayouts/slideLayout281.xml"/><Relationship Id="rId28" Type="http://schemas.openxmlformats.org/officeDocument/2006/relationships/tags" Target="../tags/tag375.xml"/><Relationship Id="rId10" Type="http://schemas.openxmlformats.org/officeDocument/2006/relationships/slideLayout" Target="../slideLayouts/slideLayout268.xml"/><Relationship Id="rId19" Type="http://schemas.openxmlformats.org/officeDocument/2006/relationships/slideLayout" Target="../slideLayouts/slideLayout277.xml"/><Relationship Id="rId31" Type="http://schemas.openxmlformats.org/officeDocument/2006/relationships/tags" Target="../tags/tag378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Relationship Id="rId14" Type="http://schemas.openxmlformats.org/officeDocument/2006/relationships/slideLayout" Target="../slideLayouts/slideLayout272.xml"/><Relationship Id="rId22" Type="http://schemas.openxmlformats.org/officeDocument/2006/relationships/slideLayout" Target="../slideLayouts/slideLayout280.xml"/><Relationship Id="rId27" Type="http://schemas.openxmlformats.org/officeDocument/2006/relationships/tags" Target="../tags/tag374.xml"/><Relationship Id="rId30" Type="http://schemas.openxmlformats.org/officeDocument/2006/relationships/tags" Target="../tags/tag377.xml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266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5.xml"/><Relationship Id="rId18" Type="http://schemas.openxmlformats.org/officeDocument/2006/relationships/slideLayout" Target="../slideLayouts/slideLayout300.xml"/><Relationship Id="rId26" Type="http://schemas.openxmlformats.org/officeDocument/2006/relationships/vmlDrawing" Target="../drawings/vmlDrawing12.vml"/><Relationship Id="rId21" Type="http://schemas.openxmlformats.org/officeDocument/2006/relationships/slideLayout" Target="../slideLayouts/slideLayout303.xml"/><Relationship Id="rId34" Type="http://schemas.openxmlformats.org/officeDocument/2006/relationships/oleObject" Target="../embeddings/oleObject12.bin"/><Relationship Id="rId7" Type="http://schemas.openxmlformats.org/officeDocument/2006/relationships/slideLayout" Target="../slideLayouts/slideLayout289.xml"/><Relationship Id="rId12" Type="http://schemas.openxmlformats.org/officeDocument/2006/relationships/slideLayout" Target="../slideLayouts/slideLayout294.xml"/><Relationship Id="rId17" Type="http://schemas.openxmlformats.org/officeDocument/2006/relationships/slideLayout" Target="../slideLayouts/slideLayout299.xml"/><Relationship Id="rId25" Type="http://schemas.openxmlformats.org/officeDocument/2006/relationships/theme" Target="../theme/theme12.xml"/><Relationship Id="rId33" Type="http://schemas.openxmlformats.org/officeDocument/2006/relationships/tags" Target="../tags/tag406.x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284.xml"/><Relationship Id="rId16" Type="http://schemas.openxmlformats.org/officeDocument/2006/relationships/slideLayout" Target="../slideLayouts/slideLayout298.xml"/><Relationship Id="rId20" Type="http://schemas.openxmlformats.org/officeDocument/2006/relationships/slideLayout" Target="../slideLayouts/slideLayout302.xml"/><Relationship Id="rId29" Type="http://schemas.openxmlformats.org/officeDocument/2006/relationships/tags" Target="../tags/tag402.xml"/><Relationship Id="rId1" Type="http://schemas.openxmlformats.org/officeDocument/2006/relationships/slideLayout" Target="../slideLayouts/slideLayout283.xml"/><Relationship Id="rId6" Type="http://schemas.openxmlformats.org/officeDocument/2006/relationships/slideLayout" Target="../slideLayouts/slideLayout288.xml"/><Relationship Id="rId11" Type="http://schemas.openxmlformats.org/officeDocument/2006/relationships/slideLayout" Target="../slideLayouts/slideLayout293.xml"/><Relationship Id="rId24" Type="http://schemas.openxmlformats.org/officeDocument/2006/relationships/slideLayout" Target="../slideLayouts/slideLayout306.xml"/><Relationship Id="rId32" Type="http://schemas.openxmlformats.org/officeDocument/2006/relationships/tags" Target="../tags/tag405.xml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287.xml"/><Relationship Id="rId15" Type="http://schemas.openxmlformats.org/officeDocument/2006/relationships/slideLayout" Target="../slideLayouts/slideLayout297.xml"/><Relationship Id="rId23" Type="http://schemas.openxmlformats.org/officeDocument/2006/relationships/slideLayout" Target="../slideLayouts/slideLayout305.xml"/><Relationship Id="rId28" Type="http://schemas.openxmlformats.org/officeDocument/2006/relationships/tags" Target="../tags/tag401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292.xml"/><Relationship Id="rId19" Type="http://schemas.openxmlformats.org/officeDocument/2006/relationships/slideLayout" Target="../slideLayouts/slideLayout301.xml"/><Relationship Id="rId31" Type="http://schemas.openxmlformats.org/officeDocument/2006/relationships/tags" Target="../tags/tag404.xml"/><Relationship Id="rId4" Type="http://schemas.openxmlformats.org/officeDocument/2006/relationships/slideLayout" Target="../slideLayouts/slideLayout286.xml"/><Relationship Id="rId9" Type="http://schemas.openxmlformats.org/officeDocument/2006/relationships/slideLayout" Target="../slideLayouts/slideLayout291.xml"/><Relationship Id="rId14" Type="http://schemas.openxmlformats.org/officeDocument/2006/relationships/slideLayout" Target="../slideLayouts/slideLayout296.xml"/><Relationship Id="rId22" Type="http://schemas.openxmlformats.org/officeDocument/2006/relationships/slideLayout" Target="../slideLayouts/slideLayout304.xml"/><Relationship Id="rId27" Type="http://schemas.openxmlformats.org/officeDocument/2006/relationships/tags" Target="../tags/tag400.xml"/><Relationship Id="rId30" Type="http://schemas.openxmlformats.org/officeDocument/2006/relationships/tags" Target="../tags/tag403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290.xml"/><Relationship Id="rId3" Type="http://schemas.openxmlformats.org/officeDocument/2006/relationships/slideLayout" Target="../slideLayouts/slideLayout285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9.xml"/><Relationship Id="rId18" Type="http://schemas.openxmlformats.org/officeDocument/2006/relationships/slideLayout" Target="../slideLayouts/slideLayout324.xml"/><Relationship Id="rId26" Type="http://schemas.openxmlformats.org/officeDocument/2006/relationships/slideLayout" Target="../slideLayouts/slideLayout332.xml"/><Relationship Id="rId39" Type="http://schemas.openxmlformats.org/officeDocument/2006/relationships/tags" Target="../tags/tag451.xml"/><Relationship Id="rId21" Type="http://schemas.openxmlformats.org/officeDocument/2006/relationships/slideLayout" Target="../slideLayouts/slideLayout327.xml"/><Relationship Id="rId34" Type="http://schemas.openxmlformats.org/officeDocument/2006/relationships/theme" Target="../theme/theme13.xml"/><Relationship Id="rId42" Type="http://schemas.openxmlformats.org/officeDocument/2006/relationships/tags" Target="../tags/tag454.xml"/><Relationship Id="rId47" Type="http://schemas.openxmlformats.org/officeDocument/2006/relationships/image" Target="../media/image3.png"/><Relationship Id="rId7" Type="http://schemas.openxmlformats.org/officeDocument/2006/relationships/slideLayout" Target="../slideLayouts/slideLayout313.xml"/><Relationship Id="rId2" Type="http://schemas.openxmlformats.org/officeDocument/2006/relationships/slideLayout" Target="../slideLayouts/slideLayout308.xml"/><Relationship Id="rId16" Type="http://schemas.openxmlformats.org/officeDocument/2006/relationships/slideLayout" Target="../slideLayouts/slideLayout322.xml"/><Relationship Id="rId29" Type="http://schemas.openxmlformats.org/officeDocument/2006/relationships/slideLayout" Target="../slideLayouts/slideLayout335.xml"/><Relationship Id="rId1" Type="http://schemas.openxmlformats.org/officeDocument/2006/relationships/slideLayout" Target="../slideLayouts/slideLayout307.xml"/><Relationship Id="rId6" Type="http://schemas.openxmlformats.org/officeDocument/2006/relationships/slideLayout" Target="../slideLayouts/slideLayout312.xml"/><Relationship Id="rId11" Type="http://schemas.openxmlformats.org/officeDocument/2006/relationships/slideLayout" Target="../slideLayouts/slideLayout317.xml"/><Relationship Id="rId24" Type="http://schemas.openxmlformats.org/officeDocument/2006/relationships/slideLayout" Target="../slideLayouts/slideLayout330.xml"/><Relationship Id="rId32" Type="http://schemas.openxmlformats.org/officeDocument/2006/relationships/slideLayout" Target="../slideLayouts/slideLayout338.xml"/><Relationship Id="rId37" Type="http://schemas.openxmlformats.org/officeDocument/2006/relationships/tags" Target="../tags/tag449.xml"/><Relationship Id="rId40" Type="http://schemas.openxmlformats.org/officeDocument/2006/relationships/tags" Target="../tags/tag452.xml"/><Relationship Id="rId45" Type="http://schemas.openxmlformats.org/officeDocument/2006/relationships/image" Target="../media/image29.jpeg"/><Relationship Id="rId5" Type="http://schemas.openxmlformats.org/officeDocument/2006/relationships/slideLayout" Target="../slideLayouts/slideLayout311.xml"/><Relationship Id="rId15" Type="http://schemas.openxmlformats.org/officeDocument/2006/relationships/slideLayout" Target="../slideLayouts/slideLayout321.xml"/><Relationship Id="rId23" Type="http://schemas.openxmlformats.org/officeDocument/2006/relationships/slideLayout" Target="../slideLayouts/slideLayout329.xml"/><Relationship Id="rId28" Type="http://schemas.openxmlformats.org/officeDocument/2006/relationships/slideLayout" Target="../slideLayouts/slideLayout334.xml"/><Relationship Id="rId36" Type="http://schemas.openxmlformats.org/officeDocument/2006/relationships/tags" Target="../tags/tag448.xml"/><Relationship Id="rId10" Type="http://schemas.openxmlformats.org/officeDocument/2006/relationships/slideLayout" Target="../slideLayouts/slideLayout316.xml"/><Relationship Id="rId19" Type="http://schemas.openxmlformats.org/officeDocument/2006/relationships/slideLayout" Target="../slideLayouts/slideLayout325.xml"/><Relationship Id="rId31" Type="http://schemas.openxmlformats.org/officeDocument/2006/relationships/slideLayout" Target="../slideLayouts/slideLayout337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310.xml"/><Relationship Id="rId9" Type="http://schemas.openxmlformats.org/officeDocument/2006/relationships/slideLayout" Target="../slideLayouts/slideLayout315.xml"/><Relationship Id="rId14" Type="http://schemas.openxmlformats.org/officeDocument/2006/relationships/slideLayout" Target="../slideLayouts/slideLayout320.xml"/><Relationship Id="rId22" Type="http://schemas.openxmlformats.org/officeDocument/2006/relationships/slideLayout" Target="../slideLayouts/slideLayout328.xml"/><Relationship Id="rId27" Type="http://schemas.openxmlformats.org/officeDocument/2006/relationships/slideLayout" Target="../slideLayouts/slideLayout333.xml"/><Relationship Id="rId30" Type="http://schemas.openxmlformats.org/officeDocument/2006/relationships/slideLayout" Target="../slideLayouts/slideLayout336.xml"/><Relationship Id="rId35" Type="http://schemas.openxmlformats.org/officeDocument/2006/relationships/vmlDrawing" Target="../drawings/vmlDrawing13.vml"/><Relationship Id="rId43" Type="http://schemas.openxmlformats.org/officeDocument/2006/relationships/oleObject" Target="../embeddings/oleObject13.bin"/><Relationship Id="rId8" Type="http://schemas.openxmlformats.org/officeDocument/2006/relationships/slideLayout" Target="../slideLayouts/slideLayout314.xml"/><Relationship Id="rId3" Type="http://schemas.openxmlformats.org/officeDocument/2006/relationships/slideLayout" Target="../slideLayouts/slideLayout309.xml"/><Relationship Id="rId12" Type="http://schemas.openxmlformats.org/officeDocument/2006/relationships/slideLayout" Target="../slideLayouts/slideLayout318.xml"/><Relationship Id="rId17" Type="http://schemas.openxmlformats.org/officeDocument/2006/relationships/slideLayout" Target="../slideLayouts/slideLayout323.xml"/><Relationship Id="rId25" Type="http://schemas.openxmlformats.org/officeDocument/2006/relationships/slideLayout" Target="../slideLayouts/slideLayout331.xml"/><Relationship Id="rId33" Type="http://schemas.openxmlformats.org/officeDocument/2006/relationships/slideLayout" Target="../slideLayouts/slideLayout339.xml"/><Relationship Id="rId38" Type="http://schemas.openxmlformats.org/officeDocument/2006/relationships/tags" Target="../tags/tag450.xml"/><Relationship Id="rId46" Type="http://schemas.openxmlformats.org/officeDocument/2006/relationships/image" Target="../media/image30.png"/><Relationship Id="rId20" Type="http://schemas.openxmlformats.org/officeDocument/2006/relationships/slideLayout" Target="../slideLayouts/slideLayout326.xml"/><Relationship Id="rId41" Type="http://schemas.openxmlformats.org/officeDocument/2006/relationships/tags" Target="../tags/tag453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2.xml"/><Relationship Id="rId18" Type="http://schemas.openxmlformats.org/officeDocument/2006/relationships/slideLayout" Target="../slideLayouts/slideLayout357.xml"/><Relationship Id="rId26" Type="http://schemas.openxmlformats.org/officeDocument/2006/relationships/theme" Target="../theme/theme14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360.xml"/><Relationship Id="rId34" Type="http://schemas.openxmlformats.org/officeDocument/2006/relationships/tags" Target="../tags/tag513.xml"/><Relationship Id="rId7" Type="http://schemas.openxmlformats.org/officeDocument/2006/relationships/slideLayout" Target="../slideLayouts/slideLayout346.xml"/><Relationship Id="rId12" Type="http://schemas.openxmlformats.org/officeDocument/2006/relationships/slideLayout" Target="../slideLayouts/slideLayout351.xml"/><Relationship Id="rId17" Type="http://schemas.openxmlformats.org/officeDocument/2006/relationships/slideLayout" Target="../slideLayouts/slideLayout356.xml"/><Relationship Id="rId25" Type="http://schemas.openxmlformats.org/officeDocument/2006/relationships/slideLayout" Target="../slideLayouts/slideLayout364.xml"/><Relationship Id="rId33" Type="http://schemas.openxmlformats.org/officeDocument/2006/relationships/tags" Target="../tags/tag512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341.xml"/><Relationship Id="rId16" Type="http://schemas.openxmlformats.org/officeDocument/2006/relationships/slideLayout" Target="../slideLayouts/slideLayout355.xml"/><Relationship Id="rId20" Type="http://schemas.openxmlformats.org/officeDocument/2006/relationships/slideLayout" Target="../slideLayouts/slideLayout359.xml"/><Relationship Id="rId29" Type="http://schemas.openxmlformats.org/officeDocument/2006/relationships/tags" Target="../tags/tag508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11" Type="http://schemas.openxmlformats.org/officeDocument/2006/relationships/slideLayout" Target="../slideLayouts/slideLayout350.xml"/><Relationship Id="rId24" Type="http://schemas.openxmlformats.org/officeDocument/2006/relationships/slideLayout" Target="../slideLayouts/slideLayout363.xml"/><Relationship Id="rId32" Type="http://schemas.openxmlformats.org/officeDocument/2006/relationships/tags" Target="../tags/tag511.xml"/><Relationship Id="rId37" Type="http://schemas.openxmlformats.org/officeDocument/2006/relationships/image" Target="../media/image2.jpeg"/><Relationship Id="rId5" Type="http://schemas.openxmlformats.org/officeDocument/2006/relationships/slideLayout" Target="../slideLayouts/slideLayout344.xml"/><Relationship Id="rId15" Type="http://schemas.openxmlformats.org/officeDocument/2006/relationships/slideLayout" Target="../slideLayouts/slideLayout354.xml"/><Relationship Id="rId23" Type="http://schemas.openxmlformats.org/officeDocument/2006/relationships/slideLayout" Target="../slideLayouts/slideLayout362.xml"/><Relationship Id="rId28" Type="http://schemas.openxmlformats.org/officeDocument/2006/relationships/tags" Target="../tags/tag507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349.xml"/><Relationship Id="rId19" Type="http://schemas.openxmlformats.org/officeDocument/2006/relationships/slideLayout" Target="../slideLayouts/slideLayout358.xml"/><Relationship Id="rId31" Type="http://schemas.openxmlformats.org/officeDocument/2006/relationships/tags" Target="../tags/tag510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Relationship Id="rId14" Type="http://schemas.openxmlformats.org/officeDocument/2006/relationships/slideLayout" Target="../slideLayouts/slideLayout353.xml"/><Relationship Id="rId22" Type="http://schemas.openxmlformats.org/officeDocument/2006/relationships/slideLayout" Target="../slideLayouts/slideLayout361.xml"/><Relationship Id="rId27" Type="http://schemas.openxmlformats.org/officeDocument/2006/relationships/vmlDrawing" Target="../drawings/vmlDrawing14.vml"/><Relationship Id="rId30" Type="http://schemas.openxmlformats.org/officeDocument/2006/relationships/tags" Target="../tags/tag509.xml"/><Relationship Id="rId35" Type="http://schemas.openxmlformats.org/officeDocument/2006/relationships/oleObject" Target="../embeddings/oleObject14.bin"/><Relationship Id="rId8" Type="http://schemas.openxmlformats.org/officeDocument/2006/relationships/slideLayout" Target="../slideLayouts/slideLayout347.xml"/><Relationship Id="rId3" Type="http://schemas.openxmlformats.org/officeDocument/2006/relationships/slideLayout" Target="../slideLayouts/slideLayout342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7.xml"/><Relationship Id="rId18" Type="http://schemas.openxmlformats.org/officeDocument/2006/relationships/slideLayout" Target="../slideLayouts/slideLayout382.xml"/><Relationship Id="rId26" Type="http://schemas.openxmlformats.org/officeDocument/2006/relationships/theme" Target="../theme/theme15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385.xml"/><Relationship Id="rId34" Type="http://schemas.openxmlformats.org/officeDocument/2006/relationships/tags" Target="../tags/tag559.xml"/><Relationship Id="rId7" Type="http://schemas.openxmlformats.org/officeDocument/2006/relationships/slideLayout" Target="../slideLayouts/slideLayout371.xml"/><Relationship Id="rId12" Type="http://schemas.openxmlformats.org/officeDocument/2006/relationships/slideLayout" Target="../slideLayouts/slideLayout376.xml"/><Relationship Id="rId17" Type="http://schemas.openxmlformats.org/officeDocument/2006/relationships/slideLayout" Target="../slideLayouts/slideLayout381.xml"/><Relationship Id="rId25" Type="http://schemas.openxmlformats.org/officeDocument/2006/relationships/slideLayout" Target="../slideLayouts/slideLayout389.xml"/><Relationship Id="rId33" Type="http://schemas.openxmlformats.org/officeDocument/2006/relationships/tags" Target="../tags/tag558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366.xml"/><Relationship Id="rId16" Type="http://schemas.openxmlformats.org/officeDocument/2006/relationships/slideLayout" Target="../slideLayouts/slideLayout380.xml"/><Relationship Id="rId20" Type="http://schemas.openxmlformats.org/officeDocument/2006/relationships/slideLayout" Target="../slideLayouts/slideLayout384.xml"/><Relationship Id="rId29" Type="http://schemas.openxmlformats.org/officeDocument/2006/relationships/tags" Target="../tags/tag554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slideLayout" Target="../slideLayouts/slideLayout375.xml"/><Relationship Id="rId24" Type="http://schemas.openxmlformats.org/officeDocument/2006/relationships/slideLayout" Target="../slideLayouts/slideLayout388.xml"/><Relationship Id="rId32" Type="http://schemas.openxmlformats.org/officeDocument/2006/relationships/tags" Target="../tags/tag557.xml"/><Relationship Id="rId37" Type="http://schemas.openxmlformats.org/officeDocument/2006/relationships/image" Target="../media/image2.jpeg"/><Relationship Id="rId5" Type="http://schemas.openxmlformats.org/officeDocument/2006/relationships/slideLayout" Target="../slideLayouts/slideLayout369.xml"/><Relationship Id="rId15" Type="http://schemas.openxmlformats.org/officeDocument/2006/relationships/slideLayout" Target="../slideLayouts/slideLayout379.xml"/><Relationship Id="rId23" Type="http://schemas.openxmlformats.org/officeDocument/2006/relationships/slideLayout" Target="../slideLayouts/slideLayout387.xml"/><Relationship Id="rId28" Type="http://schemas.openxmlformats.org/officeDocument/2006/relationships/tags" Target="../tags/tag553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374.xml"/><Relationship Id="rId19" Type="http://schemas.openxmlformats.org/officeDocument/2006/relationships/slideLayout" Target="../slideLayouts/slideLayout383.xml"/><Relationship Id="rId31" Type="http://schemas.openxmlformats.org/officeDocument/2006/relationships/tags" Target="../tags/tag556.xml"/><Relationship Id="rId4" Type="http://schemas.openxmlformats.org/officeDocument/2006/relationships/slideLayout" Target="../slideLayouts/slideLayout368.xml"/><Relationship Id="rId9" Type="http://schemas.openxmlformats.org/officeDocument/2006/relationships/slideLayout" Target="../slideLayouts/slideLayout373.xml"/><Relationship Id="rId14" Type="http://schemas.openxmlformats.org/officeDocument/2006/relationships/slideLayout" Target="../slideLayouts/slideLayout378.xml"/><Relationship Id="rId22" Type="http://schemas.openxmlformats.org/officeDocument/2006/relationships/slideLayout" Target="../slideLayouts/slideLayout386.xml"/><Relationship Id="rId27" Type="http://schemas.openxmlformats.org/officeDocument/2006/relationships/vmlDrawing" Target="../drawings/vmlDrawing15.vml"/><Relationship Id="rId30" Type="http://schemas.openxmlformats.org/officeDocument/2006/relationships/tags" Target="../tags/tag555.xml"/><Relationship Id="rId35" Type="http://schemas.openxmlformats.org/officeDocument/2006/relationships/oleObject" Target="../embeddings/oleObject15.bin"/><Relationship Id="rId8" Type="http://schemas.openxmlformats.org/officeDocument/2006/relationships/slideLayout" Target="../slideLayouts/slideLayout372.xml"/><Relationship Id="rId3" Type="http://schemas.openxmlformats.org/officeDocument/2006/relationships/slideLayout" Target="../slideLayouts/slideLayout36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27.xml"/><Relationship Id="rId34" Type="http://schemas.openxmlformats.org/officeDocument/2006/relationships/tags" Target="../tags/tag6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tags" Target="../tags/tag5.xml"/><Relationship Id="rId38" Type="http://schemas.openxmlformats.org/officeDocument/2006/relationships/image" Target="../media/image2.jpeg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tags" Target="../tags/tag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vmlDrawing" Target="../drawings/vmlDrawing1.vml"/><Relationship Id="rId35" Type="http://schemas.openxmlformats.org/officeDocument/2006/relationships/tags" Target="../tags/tag7.xml"/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9" Type="http://schemas.openxmlformats.org/officeDocument/2006/relationships/tags" Target="../tags/tag51.xml"/><Relationship Id="rId21" Type="http://schemas.openxmlformats.org/officeDocument/2006/relationships/slideLayout" Target="../slideLayouts/slideLayout55.xml"/><Relationship Id="rId34" Type="http://schemas.openxmlformats.org/officeDocument/2006/relationships/tags" Target="../tags/tag46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theme" Target="../theme/theme3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image" Target="../media/image3.png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tags" Target="../tags/tag48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4" Type="http://schemas.openxmlformats.org/officeDocument/2006/relationships/image" Target="../media/image12.png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tags" Target="../tags/tag47.xml"/><Relationship Id="rId43" Type="http://schemas.openxmlformats.org/officeDocument/2006/relationships/image" Target="../media/image11.jpeg"/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vmlDrawing" Target="../drawings/vmlDrawing2.vml"/><Relationship Id="rId38" Type="http://schemas.openxmlformats.org/officeDocument/2006/relationships/tags" Target="../tags/tag50.xml"/><Relationship Id="rId20" Type="http://schemas.openxmlformats.org/officeDocument/2006/relationships/slideLayout" Target="../slideLayouts/slideLayout54.xml"/><Relationship Id="rId41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theme" Target="../theme/theme4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tags" Target="../tags/tag98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oleObject" Target="../embeddings/oleObject3.bin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tags" Target="../tags/tag97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tags" Target="../tags/tag100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vmlDrawing" Target="../drawings/vmlDrawing4.vml"/><Relationship Id="rId3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110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theme" Target="../theme/theme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109.xml"/><Relationship Id="rId29" Type="http://schemas.openxmlformats.org/officeDocument/2006/relationships/tags" Target="../tags/tag125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oleObject" Target="../embeddings/oleObject4.bin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tags" Target="../tags/tag124.xml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31" Type="http://schemas.openxmlformats.org/officeDocument/2006/relationships/tags" Target="../tags/tag127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tags" Target="../tags/tag123.xml"/><Relationship Id="rId30" Type="http://schemas.openxmlformats.org/officeDocument/2006/relationships/tags" Target="../tags/tag126.xml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97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slideLayout" Target="../slideLayouts/slideLayout139.xml"/><Relationship Id="rId39" Type="http://schemas.openxmlformats.org/officeDocument/2006/relationships/tags" Target="../tags/tag173.xml"/><Relationship Id="rId21" Type="http://schemas.openxmlformats.org/officeDocument/2006/relationships/slideLayout" Target="../slideLayouts/slideLayout134.xml"/><Relationship Id="rId34" Type="http://schemas.openxmlformats.org/officeDocument/2006/relationships/tags" Target="../tags/tag168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9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24" Type="http://schemas.openxmlformats.org/officeDocument/2006/relationships/slideLayout" Target="../slideLayouts/slideLayout137.xml"/><Relationship Id="rId32" Type="http://schemas.openxmlformats.org/officeDocument/2006/relationships/theme" Target="../theme/theme6.xml"/><Relationship Id="rId37" Type="http://schemas.openxmlformats.org/officeDocument/2006/relationships/tags" Target="../tags/tag171.xml"/><Relationship Id="rId40" Type="http://schemas.openxmlformats.org/officeDocument/2006/relationships/tags" Target="../tags/tag174.xml"/><Relationship Id="rId45" Type="http://schemas.openxmlformats.org/officeDocument/2006/relationships/image" Target="../media/image3.png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23" Type="http://schemas.openxmlformats.org/officeDocument/2006/relationships/slideLayout" Target="../slideLayouts/slideLayout136.xml"/><Relationship Id="rId28" Type="http://schemas.openxmlformats.org/officeDocument/2006/relationships/slideLayout" Target="../slideLayouts/slideLayout141.xml"/><Relationship Id="rId36" Type="http://schemas.openxmlformats.org/officeDocument/2006/relationships/tags" Target="../tags/tag170.xml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31" Type="http://schemas.openxmlformats.org/officeDocument/2006/relationships/slideLayout" Target="../slideLayouts/slideLayout144.xml"/><Relationship Id="rId44" Type="http://schemas.openxmlformats.org/officeDocument/2006/relationships/image" Target="../media/image12.png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slideLayout" Target="../slideLayouts/slideLayout135.xml"/><Relationship Id="rId27" Type="http://schemas.openxmlformats.org/officeDocument/2006/relationships/slideLayout" Target="../slideLayouts/slideLayout140.xml"/><Relationship Id="rId30" Type="http://schemas.openxmlformats.org/officeDocument/2006/relationships/slideLayout" Target="../slideLayouts/slideLayout143.xml"/><Relationship Id="rId35" Type="http://schemas.openxmlformats.org/officeDocument/2006/relationships/tags" Target="../tags/tag169.xml"/><Relationship Id="rId43" Type="http://schemas.openxmlformats.org/officeDocument/2006/relationships/image" Target="../media/image11.jpeg"/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slideLayout" Target="../slideLayouts/slideLayout138.xml"/><Relationship Id="rId33" Type="http://schemas.openxmlformats.org/officeDocument/2006/relationships/vmlDrawing" Target="../drawings/vmlDrawing5.vml"/><Relationship Id="rId38" Type="http://schemas.openxmlformats.org/officeDocument/2006/relationships/tags" Target="../tags/tag172.xml"/><Relationship Id="rId20" Type="http://schemas.openxmlformats.org/officeDocument/2006/relationships/slideLayout" Target="../slideLayouts/slideLayout133.xml"/><Relationship Id="rId41" Type="http://schemas.openxmlformats.org/officeDocument/2006/relationships/oleObject" Target="../embeddings/oleObject5.bin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26" Type="http://schemas.openxmlformats.org/officeDocument/2006/relationships/slideLayout" Target="../slideLayouts/slideLayout170.xml"/><Relationship Id="rId39" Type="http://schemas.openxmlformats.org/officeDocument/2006/relationships/tags" Target="../tags/tag221.xml"/><Relationship Id="rId21" Type="http://schemas.openxmlformats.org/officeDocument/2006/relationships/slideLayout" Target="../slideLayouts/slideLayout165.xml"/><Relationship Id="rId34" Type="http://schemas.openxmlformats.org/officeDocument/2006/relationships/tags" Target="../tags/tag216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9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24" Type="http://schemas.openxmlformats.org/officeDocument/2006/relationships/slideLayout" Target="../slideLayouts/slideLayout168.xml"/><Relationship Id="rId32" Type="http://schemas.openxmlformats.org/officeDocument/2006/relationships/theme" Target="../theme/theme7.xml"/><Relationship Id="rId37" Type="http://schemas.openxmlformats.org/officeDocument/2006/relationships/tags" Target="../tags/tag219.xml"/><Relationship Id="rId40" Type="http://schemas.openxmlformats.org/officeDocument/2006/relationships/tags" Target="../tags/tag222.xml"/><Relationship Id="rId45" Type="http://schemas.openxmlformats.org/officeDocument/2006/relationships/image" Target="../media/image3.png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23" Type="http://schemas.openxmlformats.org/officeDocument/2006/relationships/slideLayout" Target="../slideLayouts/slideLayout167.xml"/><Relationship Id="rId28" Type="http://schemas.openxmlformats.org/officeDocument/2006/relationships/slideLayout" Target="../slideLayouts/slideLayout172.xml"/><Relationship Id="rId36" Type="http://schemas.openxmlformats.org/officeDocument/2006/relationships/tags" Target="../tags/tag218.xml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31" Type="http://schemas.openxmlformats.org/officeDocument/2006/relationships/slideLayout" Target="../slideLayouts/slideLayout175.xml"/><Relationship Id="rId44" Type="http://schemas.openxmlformats.org/officeDocument/2006/relationships/image" Target="../media/image12.png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slideLayout" Target="../slideLayouts/slideLayout166.xml"/><Relationship Id="rId27" Type="http://schemas.openxmlformats.org/officeDocument/2006/relationships/slideLayout" Target="../slideLayouts/slideLayout171.xml"/><Relationship Id="rId30" Type="http://schemas.openxmlformats.org/officeDocument/2006/relationships/slideLayout" Target="../slideLayouts/slideLayout174.xml"/><Relationship Id="rId35" Type="http://schemas.openxmlformats.org/officeDocument/2006/relationships/tags" Target="../tags/tag217.xml"/><Relationship Id="rId43" Type="http://schemas.openxmlformats.org/officeDocument/2006/relationships/image" Target="../media/image11.jpeg"/><Relationship Id="rId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5" Type="http://schemas.openxmlformats.org/officeDocument/2006/relationships/slideLayout" Target="../slideLayouts/slideLayout169.xml"/><Relationship Id="rId33" Type="http://schemas.openxmlformats.org/officeDocument/2006/relationships/vmlDrawing" Target="../drawings/vmlDrawing6.vml"/><Relationship Id="rId38" Type="http://schemas.openxmlformats.org/officeDocument/2006/relationships/tags" Target="../tags/tag220.xml"/><Relationship Id="rId20" Type="http://schemas.openxmlformats.org/officeDocument/2006/relationships/slideLayout" Target="../slideLayouts/slideLayout164.xml"/><Relationship Id="rId41" Type="http://schemas.openxmlformats.org/officeDocument/2006/relationships/oleObject" Target="../embeddings/oleObject6.bin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8.xml"/><Relationship Id="rId18" Type="http://schemas.openxmlformats.org/officeDocument/2006/relationships/slideLayout" Target="../slideLayouts/slideLayout193.xml"/><Relationship Id="rId26" Type="http://schemas.openxmlformats.org/officeDocument/2006/relationships/slideLayout" Target="../slideLayouts/slideLayout201.xml"/><Relationship Id="rId39" Type="http://schemas.openxmlformats.org/officeDocument/2006/relationships/tags" Target="../tags/tag270.xml"/><Relationship Id="rId21" Type="http://schemas.openxmlformats.org/officeDocument/2006/relationships/slideLayout" Target="../slideLayouts/slideLayout196.xml"/><Relationship Id="rId34" Type="http://schemas.openxmlformats.org/officeDocument/2006/relationships/vmlDrawing" Target="../drawings/vmlDrawing7.vml"/><Relationship Id="rId42" Type="http://schemas.openxmlformats.org/officeDocument/2006/relationships/image" Target="../media/image11.jpeg"/><Relationship Id="rId7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77.xml"/><Relationship Id="rId16" Type="http://schemas.openxmlformats.org/officeDocument/2006/relationships/slideLayout" Target="../slideLayouts/slideLayout191.xml"/><Relationship Id="rId20" Type="http://schemas.openxmlformats.org/officeDocument/2006/relationships/slideLayout" Target="../slideLayouts/slideLayout195.xml"/><Relationship Id="rId29" Type="http://schemas.openxmlformats.org/officeDocument/2006/relationships/slideLayout" Target="../slideLayouts/slideLayout20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24" Type="http://schemas.openxmlformats.org/officeDocument/2006/relationships/slideLayout" Target="../slideLayouts/slideLayout199.xml"/><Relationship Id="rId32" Type="http://schemas.openxmlformats.org/officeDocument/2006/relationships/slideLayout" Target="../slideLayouts/slideLayout207.xml"/><Relationship Id="rId37" Type="http://schemas.openxmlformats.org/officeDocument/2006/relationships/tags" Target="../tags/tag268.xml"/><Relationship Id="rId40" Type="http://schemas.openxmlformats.org/officeDocument/2006/relationships/oleObject" Target="../embeddings/oleObject7.bin"/><Relationship Id="rId5" Type="http://schemas.openxmlformats.org/officeDocument/2006/relationships/slideLayout" Target="../slideLayouts/slideLayout180.xml"/><Relationship Id="rId15" Type="http://schemas.openxmlformats.org/officeDocument/2006/relationships/slideLayout" Target="../slideLayouts/slideLayout190.xml"/><Relationship Id="rId23" Type="http://schemas.openxmlformats.org/officeDocument/2006/relationships/slideLayout" Target="../slideLayouts/slideLayout198.xml"/><Relationship Id="rId28" Type="http://schemas.openxmlformats.org/officeDocument/2006/relationships/slideLayout" Target="../slideLayouts/slideLayout203.xml"/><Relationship Id="rId36" Type="http://schemas.openxmlformats.org/officeDocument/2006/relationships/tags" Target="../tags/tag267.xml"/><Relationship Id="rId10" Type="http://schemas.openxmlformats.org/officeDocument/2006/relationships/slideLayout" Target="../slideLayouts/slideLayout185.xml"/><Relationship Id="rId19" Type="http://schemas.openxmlformats.org/officeDocument/2006/relationships/slideLayout" Target="../slideLayouts/slideLayout194.xml"/><Relationship Id="rId31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slideLayout" Target="../slideLayouts/slideLayout197.xml"/><Relationship Id="rId27" Type="http://schemas.openxmlformats.org/officeDocument/2006/relationships/slideLayout" Target="../slideLayouts/slideLayout202.xml"/><Relationship Id="rId30" Type="http://schemas.openxmlformats.org/officeDocument/2006/relationships/slideLayout" Target="../slideLayouts/slideLayout205.xml"/><Relationship Id="rId35" Type="http://schemas.openxmlformats.org/officeDocument/2006/relationships/tags" Target="../tags/tag266.xml"/><Relationship Id="rId43" Type="http://schemas.openxmlformats.org/officeDocument/2006/relationships/image" Target="../media/image3.png"/><Relationship Id="rId8" Type="http://schemas.openxmlformats.org/officeDocument/2006/relationships/slideLayout" Target="../slideLayouts/slideLayout183.xml"/><Relationship Id="rId3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7.xml"/><Relationship Id="rId17" Type="http://schemas.openxmlformats.org/officeDocument/2006/relationships/slideLayout" Target="../slideLayouts/slideLayout192.xml"/><Relationship Id="rId25" Type="http://schemas.openxmlformats.org/officeDocument/2006/relationships/slideLayout" Target="../slideLayouts/slideLayout200.xml"/><Relationship Id="rId33" Type="http://schemas.openxmlformats.org/officeDocument/2006/relationships/theme" Target="../theme/theme8.xml"/><Relationship Id="rId38" Type="http://schemas.openxmlformats.org/officeDocument/2006/relationships/tags" Target="../tags/tag269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0.xml"/><Relationship Id="rId18" Type="http://schemas.openxmlformats.org/officeDocument/2006/relationships/slideLayout" Target="../slideLayouts/slideLayout225.xml"/><Relationship Id="rId26" Type="http://schemas.openxmlformats.org/officeDocument/2006/relationships/theme" Target="../theme/theme9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228.xml"/><Relationship Id="rId34" Type="http://schemas.openxmlformats.org/officeDocument/2006/relationships/tags" Target="../tags/tag299.xml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17" Type="http://schemas.openxmlformats.org/officeDocument/2006/relationships/slideLayout" Target="../slideLayouts/slideLayout224.xml"/><Relationship Id="rId25" Type="http://schemas.openxmlformats.org/officeDocument/2006/relationships/slideLayout" Target="../slideLayouts/slideLayout232.xml"/><Relationship Id="rId33" Type="http://schemas.openxmlformats.org/officeDocument/2006/relationships/tags" Target="../tags/tag298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09.xml"/><Relationship Id="rId16" Type="http://schemas.openxmlformats.org/officeDocument/2006/relationships/slideLayout" Target="../slideLayouts/slideLayout223.xml"/><Relationship Id="rId20" Type="http://schemas.openxmlformats.org/officeDocument/2006/relationships/slideLayout" Target="../slideLayouts/slideLayout227.xml"/><Relationship Id="rId29" Type="http://schemas.openxmlformats.org/officeDocument/2006/relationships/tags" Target="../tags/tag294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31.xml"/><Relationship Id="rId32" Type="http://schemas.openxmlformats.org/officeDocument/2006/relationships/tags" Target="../tags/tag297.xml"/><Relationship Id="rId37" Type="http://schemas.openxmlformats.org/officeDocument/2006/relationships/image" Target="../media/image2.jpeg"/><Relationship Id="rId5" Type="http://schemas.openxmlformats.org/officeDocument/2006/relationships/slideLayout" Target="../slideLayouts/slideLayout212.xml"/><Relationship Id="rId15" Type="http://schemas.openxmlformats.org/officeDocument/2006/relationships/slideLayout" Target="../slideLayouts/slideLayout222.xml"/><Relationship Id="rId23" Type="http://schemas.openxmlformats.org/officeDocument/2006/relationships/slideLayout" Target="../slideLayouts/slideLayout230.xml"/><Relationship Id="rId28" Type="http://schemas.openxmlformats.org/officeDocument/2006/relationships/tags" Target="../tags/tag293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217.xml"/><Relationship Id="rId19" Type="http://schemas.openxmlformats.org/officeDocument/2006/relationships/slideLayout" Target="../slideLayouts/slideLayout226.xml"/><Relationship Id="rId31" Type="http://schemas.openxmlformats.org/officeDocument/2006/relationships/tags" Target="../tags/tag296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slideLayout" Target="../slideLayouts/slideLayout221.xml"/><Relationship Id="rId22" Type="http://schemas.openxmlformats.org/officeDocument/2006/relationships/slideLayout" Target="../slideLayouts/slideLayout229.xml"/><Relationship Id="rId27" Type="http://schemas.openxmlformats.org/officeDocument/2006/relationships/vmlDrawing" Target="../drawings/vmlDrawing8.vml"/><Relationship Id="rId30" Type="http://schemas.openxmlformats.org/officeDocument/2006/relationships/tags" Target="../tags/tag295.xml"/><Relationship Id="rId35" Type="http://schemas.openxmlformats.org/officeDocument/2006/relationships/oleObject" Target="../embeddings/oleObject8.bin"/><Relationship Id="rId8" Type="http://schemas.openxmlformats.org/officeDocument/2006/relationships/slideLayout" Target="../slideLayouts/slideLayout215.xml"/><Relationship Id="rId3" Type="http://schemas.openxmlformats.org/officeDocument/2006/relationships/slideLayout" Target="../slideLayouts/slideLayout2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951820" y="1491002"/>
            <a:ext cx="9208770" cy="74295"/>
          </a:xfrm>
          <a:custGeom>
            <a:avLst/>
            <a:gdLst/>
            <a:ahLst/>
            <a:cxnLst/>
            <a:rect l="l" t="t" r="r" b="b"/>
            <a:pathLst>
              <a:path w="9208770" h="74294">
                <a:moveTo>
                  <a:pt x="9208179" y="0"/>
                </a:moveTo>
                <a:lnTo>
                  <a:pt x="0" y="73902"/>
                </a:lnTo>
                <a:lnTo>
                  <a:pt x="9208179" y="73902"/>
                </a:lnTo>
                <a:lnTo>
                  <a:pt x="9208179" y="0"/>
                </a:lnTo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44500" y="300706"/>
            <a:ext cx="9270999" cy="10033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500" b="0" i="0">
                <a:solidFill>
                  <a:srgbClr val="003399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81939" y="1958510"/>
            <a:ext cx="9596120" cy="51028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chemeClr val="tx1"/>
                </a:solidFill>
                <a:latin typeface="Cambria"/>
                <a:cs typeface="Cambri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08000" y="7086600"/>
            <a:ext cx="2336800" cy="381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845885" y="7334131"/>
            <a:ext cx="175895" cy="127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80" dirty="0"/>
              <a:t>‹#›</a:t>
            </a:fld>
            <a:endParaRPr spc="8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224" r:id="rId6"/>
  </p:sldLayoutIdLst>
  <p:hf hd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  <p:extLst/>
          </p:nvPr>
        </p:nvGraphicFramePr>
        <p:xfrm>
          <a:off x="0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3"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389" cy="1763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0"/>
            </p:custDataLst>
          </p:nvPr>
        </p:nvPicPr>
        <p:blipFill rotWithShape="1"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22481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328084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2"/>
            </p:custDataLst>
          </p:nvPr>
        </p:nvSpPr>
        <p:spPr>
          <a:xfrm>
            <a:off x="328084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3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Holder 3"/>
          <p:cNvSpPr>
            <a:spLocks noGrp="1"/>
          </p:cNvSpPr>
          <p:nvPr>
            <p:ph type="ftr" sz="quarter" idx="3"/>
          </p:nvPr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513232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  <p:sldLayoutId id="2147484019" r:id="rId7"/>
    <p:sldLayoutId id="2147484020" r:id="rId8"/>
    <p:sldLayoutId id="2147484021" r:id="rId9"/>
    <p:sldLayoutId id="2147484022" r:id="rId10"/>
    <p:sldLayoutId id="2147484023" r:id="rId11"/>
    <p:sldLayoutId id="2147484024" r:id="rId12"/>
    <p:sldLayoutId id="2147484025" r:id="rId13"/>
    <p:sldLayoutId id="2147484026" r:id="rId14"/>
    <p:sldLayoutId id="2147484027" r:id="rId15"/>
    <p:sldLayoutId id="2147484028" r:id="rId16"/>
    <p:sldLayoutId id="2147484029" r:id="rId17"/>
    <p:sldLayoutId id="2147484030" r:id="rId18"/>
    <p:sldLayoutId id="2147484031" r:id="rId19"/>
    <p:sldLayoutId id="2147484032" r:id="rId20"/>
    <p:sldLayoutId id="2147484033" r:id="rId21"/>
    <p:sldLayoutId id="2147484034" r:id="rId22"/>
    <p:sldLayoutId id="2147484035" r:id="rId23"/>
    <p:sldLayoutId id="2147484036" r:id="rId24"/>
    <p:sldLayoutId id="2147484037" r:id="rId25"/>
    <p:sldLayoutId id="2147484038" r:id="rId26"/>
  </p:sldLayoutIdLst>
  <p:transition spd="slow">
    <p:wipe/>
  </p:transition>
  <p:hf hdr="0" dt="0"/>
  <p:txStyles>
    <p:titleStyle>
      <a:lvl1pPr algn="l" defTabSz="1015990" rtl="0" eaLnBrk="1" latinLnBrk="0" hangingPunct="1">
        <a:spcBef>
          <a:spcPct val="0"/>
        </a:spcBef>
        <a:buNone/>
        <a:defRPr sz="2667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1015990" rtl="0" eaLnBrk="1" latinLnBrk="0" hangingPunct="1">
        <a:spcBef>
          <a:spcPts val="333"/>
        </a:spcBef>
        <a:buFont typeface="Arial" pitchFamily="34" charset="0"/>
        <a:buNone/>
        <a:defRPr sz="1778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9998" indent="-199998" algn="l" defTabSz="1015990" rtl="0" eaLnBrk="1" latinLnBrk="0" hangingPunct="1">
        <a:spcBef>
          <a:spcPts val="333"/>
        </a:spcBef>
        <a:buClr>
          <a:srgbClr val="002060"/>
        </a:buClr>
        <a:buFontTx/>
        <a:buBlip>
          <a:blip r:embed="rId37"/>
        </a:buBlip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99996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•"/>
        <a:defRPr lang="en-US" sz="1778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99994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–"/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999980" indent="-1999980" algn="l" defTabSz="1015990" rtl="0" eaLnBrk="1" latinLnBrk="0" hangingPunct="1">
        <a:spcBef>
          <a:spcPts val="333"/>
        </a:spcBef>
        <a:buFont typeface="Arial" pitchFamily="34" charset="0"/>
        <a:buNone/>
        <a:defRPr sz="1778" kern="1200">
          <a:solidFill>
            <a:schemeClr val="tx2"/>
          </a:solidFill>
          <a:latin typeface="+mn-lt"/>
          <a:ea typeface="+mn-ea"/>
          <a:cs typeface="+mn-cs"/>
        </a:defRPr>
      </a:lvl5pPr>
      <a:lvl6pPr marL="279397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6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1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28084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28084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Holder 3"/>
          <p:cNvSpPr>
            <a:spLocks noGrp="1"/>
          </p:cNvSpPr>
          <p:nvPr>
            <p:ph type="ftr" sz="quarter" idx="3"/>
          </p:nvPr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645030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  <p:sldLayoutId id="2147484054" r:id="rId15"/>
    <p:sldLayoutId id="2147484055" r:id="rId16"/>
    <p:sldLayoutId id="2147484056" r:id="rId17"/>
    <p:sldLayoutId id="2147484057" r:id="rId18"/>
    <p:sldLayoutId id="2147484058" r:id="rId19"/>
    <p:sldLayoutId id="2147484059" r:id="rId20"/>
    <p:sldLayoutId id="2147484060" r:id="rId21"/>
    <p:sldLayoutId id="2147484061" r:id="rId22"/>
    <p:sldLayoutId id="2147484062" r:id="rId23"/>
    <p:sldLayoutId id="2147484063" r:id="rId24"/>
  </p:sldLayoutIdLst>
  <p:hf hdr="0" dt="0"/>
  <p:txStyles>
    <p:titleStyle>
      <a:lvl1pPr algn="l" defTabSz="1015990" rtl="0" eaLnBrk="1" latinLnBrk="0" hangingPunct="1">
        <a:spcBef>
          <a:spcPct val="0"/>
        </a:spcBef>
        <a:buNone/>
        <a:defRPr sz="2667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1015990" rtl="0" eaLnBrk="1" latinLnBrk="0" hangingPunct="1">
        <a:spcBef>
          <a:spcPts val="333"/>
        </a:spcBef>
        <a:buFont typeface="Arial" pitchFamily="34" charset="0"/>
        <a:buNone/>
        <a:defRPr sz="1778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9998" indent="-199998" algn="l" defTabSz="1015990" rtl="0" eaLnBrk="1" latinLnBrk="0" hangingPunct="1">
        <a:spcBef>
          <a:spcPts val="333"/>
        </a:spcBef>
        <a:buClr>
          <a:srgbClr val="002060"/>
        </a:buClr>
        <a:buFontTx/>
        <a:buBlip>
          <a:blip r:embed="rId35"/>
        </a:buBlip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99996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•"/>
        <a:defRPr lang="en-US" sz="1778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99994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–"/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999980" indent="-1999980" algn="l" defTabSz="1015990" rtl="0" eaLnBrk="1" latinLnBrk="0" hangingPunct="1">
        <a:spcBef>
          <a:spcPts val="333"/>
        </a:spcBef>
        <a:buFont typeface="Arial" pitchFamily="34" charset="0"/>
        <a:buNone/>
        <a:defRPr sz="1778" kern="1200">
          <a:solidFill>
            <a:schemeClr val="tx2"/>
          </a:solidFill>
          <a:latin typeface="+mn-lt"/>
          <a:ea typeface="+mn-ea"/>
          <a:cs typeface="+mn-cs"/>
        </a:defRPr>
      </a:lvl5pPr>
      <a:lvl6pPr marL="279397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1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2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28086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28086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289970" y="7186833"/>
            <a:ext cx="2160240" cy="256480"/>
          </a:xfrm>
          <a:prstGeom prst="rect">
            <a:avLst/>
          </a:prstGeom>
        </p:spPr>
        <p:txBody>
          <a:bodyPr vert="horz" lIns="80000" tIns="80000" rIns="0" bIns="0" rtlCol="0" anchor="b"/>
          <a:lstStyle/>
          <a:p>
            <a:r>
              <a:rPr lang="en-US" sz="889" dirty="0">
                <a:solidFill>
                  <a:srgbClr val="998F86"/>
                </a:solidFill>
              </a:rPr>
              <a:t>© Western Cape Government  |</a:t>
            </a:r>
            <a:endParaRPr lang="en-GB" sz="889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1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7331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  <p:sldLayoutId id="2147484091" r:id="rId9"/>
    <p:sldLayoutId id="2147484092" r:id="rId10"/>
    <p:sldLayoutId id="2147484093" r:id="rId11"/>
    <p:sldLayoutId id="2147484094" r:id="rId12"/>
    <p:sldLayoutId id="2147484095" r:id="rId13"/>
    <p:sldLayoutId id="2147484096" r:id="rId14"/>
    <p:sldLayoutId id="2147484097" r:id="rId15"/>
    <p:sldLayoutId id="2147484098" r:id="rId16"/>
    <p:sldLayoutId id="2147484099" r:id="rId17"/>
    <p:sldLayoutId id="2147484100" r:id="rId18"/>
    <p:sldLayoutId id="2147484101" r:id="rId19"/>
    <p:sldLayoutId id="2147484102" r:id="rId20"/>
    <p:sldLayoutId id="2147484103" r:id="rId21"/>
    <p:sldLayoutId id="2147484104" r:id="rId22"/>
    <p:sldLayoutId id="2147484105" r:id="rId23"/>
    <p:sldLayoutId id="2147484106" r:id="rId24"/>
  </p:sldLayoutIdLst>
  <p:hf hdr="0" dt="0"/>
  <p:txStyles>
    <p:titleStyle>
      <a:lvl1pPr algn="l" defTabSz="1015990" rtl="0" eaLnBrk="1" latinLnBrk="0" hangingPunct="1">
        <a:spcBef>
          <a:spcPct val="0"/>
        </a:spcBef>
        <a:buNone/>
        <a:defRPr sz="2667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1015990" rtl="0" eaLnBrk="1" latinLnBrk="0" hangingPunct="1">
        <a:spcBef>
          <a:spcPts val="333"/>
        </a:spcBef>
        <a:buFont typeface="Arial" pitchFamily="34" charset="0"/>
        <a:buNone/>
        <a:defRPr sz="1778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9998" indent="-199998" algn="l" defTabSz="1015990" rtl="0" eaLnBrk="1" latinLnBrk="0" hangingPunct="1">
        <a:spcBef>
          <a:spcPts val="333"/>
        </a:spcBef>
        <a:buClr>
          <a:srgbClr val="002060"/>
        </a:buClr>
        <a:buFontTx/>
        <a:buBlip>
          <a:blip r:embed="rId38"/>
        </a:buBlip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99996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•"/>
        <a:defRPr lang="en-US" sz="1778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99994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–"/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999980" indent="-1999980" algn="l" defTabSz="1015990" rtl="0" eaLnBrk="1" latinLnBrk="0" hangingPunct="1">
        <a:spcBef>
          <a:spcPts val="333"/>
        </a:spcBef>
        <a:buFont typeface="Arial" pitchFamily="34" charset="0"/>
        <a:buNone/>
        <a:defRPr sz="1778" kern="1200">
          <a:solidFill>
            <a:schemeClr val="tx2"/>
          </a:solidFill>
          <a:latin typeface="+mn-lt"/>
          <a:ea typeface="+mn-ea"/>
          <a:cs typeface="+mn-cs"/>
        </a:defRPr>
      </a:lvl5pPr>
      <a:lvl6pPr marL="279397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6"/>
            </p:custDataLst>
            <p:extLst/>
          </p:nvPr>
        </p:nvGraphicFramePr>
        <p:xfrm>
          <a:off x="1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8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7"/>
            </p:custDataLst>
          </p:nvPr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2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8"/>
            </p:custDataLst>
          </p:nvPr>
        </p:nvSpPr>
        <p:spPr>
          <a:xfrm>
            <a:off x="328086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9"/>
            </p:custDataLst>
          </p:nvPr>
        </p:nvSpPr>
        <p:spPr>
          <a:xfrm>
            <a:off x="328086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40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41"/>
            </p:custDataLst>
          </p:nvPr>
        </p:nvSpPr>
        <p:spPr>
          <a:xfrm>
            <a:off x="398095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rgbClr val="00206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42"/>
            </p:custDataLst>
          </p:nvPr>
        </p:nvSpPr>
        <p:spPr>
          <a:xfrm>
            <a:off x="2289970" y="7186833"/>
            <a:ext cx="2160240" cy="256480"/>
          </a:xfrm>
          <a:prstGeom prst="rect">
            <a:avLst/>
          </a:prstGeom>
        </p:spPr>
        <p:txBody>
          <a:bodyPr vert="horz" lIns="60000" tIns="60000" rIns="0" bIns="0" rtlCol="0" anchor="b"/>
          <a:lstStyle/>
          <a:p>
            <a:r>
              <a:rPr lang="en-US" sz="667" dirty="0">
                <a:solidFill>
                  <a:srgbClr val="002060"/>
                </a:solidFill>
              </a:rPr>
              <a:t>© Western Cape Government 2016  |</a:t>
            </a:r>
            <a:endParaRPr lang="en-GB" sz="667" dirty="0">
              <a:solidFill>
                <a:srgbClr val="002060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17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7712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  <p:sldLayoutId id="2147484119" r:id="rId11"/>
    <p:sldLayoutId id="2147484120" r:id="rId12"/>
    <p:sldLayoutId id="2147484121" r:id="rId13"/>
    <p:sldLayoutId id="2147484122" r:id="rId14"/>
    <p:sldLayoutId id="2147484123" r:id="rId15"/>
    <p:sldLayoutId id="2147484124" r:id="rId16"/>
    <p:sldLayoutId id="2147484125" r:id="rId17"/>
    <p:sldLayoutId id="2147484126" r:id="rId18"/>
    <p:sldLayoutId id="2147484127" r:id="rId19"/>
    <p:sldLayoutId id="2147484128" r:id="rId20"/>
    <p:sldLayoutId id="2147484129" r:id="rId21"/>
    <p:sldLayoutId id="2147484130" r:id="rId22"/>
    <p:sldLayoutId id="2147484131" r:id="rId23"/>
    <p:sldLayoutId id="2147484132" r:id="rId24"/>
    <p:sldLayoutId id="2147484133" r:id="rId25"/>
    <p:sldLayoutId id="2147484134" r:id="rId26"/>
    <p:sldLayoutId id="2147484135" r:id="rId27"/>
    <p:sldLayoutId id="2147484136" r:id="rId28"/>
    <p:sldLayoutId id="2147484138" r:id="rId29"/>
    <p:sldLayoutId id="2147484140" r:id="rId30"/>
    <p:sldLayoutId id="2147484141" r:id="rId31"/>
    <p:sldLayoutId id="2147484142" r:id="rId32"/>
    <p:sldLayoutId id="2147484145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76197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761970" rtl="0" eaLnBrk="1" latinLnBrk="0" hangingPunct="1">
        <a:spcBef>
          <a:spcPts val="250"/>
        </a:spcBef>
        <a:buFont typeface="Arial" pitchFamily="34" charset="0"/>
        <a:buNone/>
        <a:defRPr sz="1333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49994" indent="-149994" algn="l" defTabSz="761970" rtl="0" eaLnBrk="1" latinLnBrk="0" hangingPunct="1">
        <a:spcBef>
          <a:spcPts val="250"/>
        </a:spcBef>
        <a:buClr>
          <a:srgbClr val="002060"/>
        </a:buClr>
        <a:buFontTx/>
        <a:buBlip>
          <a:blip r:embed="rId47"/>
        </a:buBlip>
        <a:defRPr sz="1333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99988" indent="-149994" algn="l" defTabSz="761970" rtl="0" eaLnBrk="1" latinLnBrk="0" hangingPunct="1">
        <a:spcBef>
          <a:spcPts val="250"/>
        </a:spcBef>
        <a:buClr>
          <a:schemeClr val="accent3"/>
        </a:buClr>
        <a:buFont typeface="Arial" pitchFamily="34" charset="0"/>
        <a:buChar char="•"/>
        <a:defRPr lang="en-US" sz="1333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49982" indent="-149994" algn="l" defTabSz="761970" rtl="0" eaLnBrk="1" latinLnBrk="0" hangingPunct="1">
        <a:spcBef>
          <a:spcPts val="250"/>
        </a:spcBef>
        <a:buClr>
          <a:schemeClr val="accent3"/>
        </a:buClr>
        <a:buFont typeface="Arial" pitchFamily="34" charset="0"/>
        <a:buChar char="–"/>
        <a:defRPr sz="1333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499940" indent="-1499940" algn="l" defTabSz="761970" rtl="0" eaLnBrk="1" latinLnBrk="0" hangingPunct="1">
        <a:spcBef>
          <a:spcPts val="250"/>
        </a:spcBef>
        <a:buFont typeface="Arial" pitchFamily="34" charset="0"/>
        <a:buNone/>
        <a:defRPr sz="1333" kern="1200">
          <a:solidFill>
            <a:schemeClr val="tx2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1" y="1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" y="1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3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328086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328086" y="1329726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289970" y="7186833"/>
            <a:ext cx="2160240" cy="256480"/>
          </a:xfrm>
          <a:prstGeom prst="rect">
            <a:avLst/>
          </a:prstGeom>
        </p:spPr>
        <p:txBody>
          <a:bodyPr vert="horz" lIns="80000" tIns="80000" rIns="0" bIns="0" rtlCol="0" anchor="b"/>
          <a:lstStyle/>
          <a:p>
            <a:r>
              <a:rPr lang="en-US" sz="889" dirty="0">
                <a:solidFill>
                  <a:srgbClr val="998F86"/>
                </a:solidFill>
              </a:rPr>
              <a:t>© Western Cape Government  |</a:t>
            </a:r>
            <a:endParaRPr lang="en-GB" sz="889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8" y="6832320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0793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  <p:sldLayoutId id="2147484181" r:id="rId9"/>
    <p:sldLayoutId id="2147484182" r:id="rId10"/>
    <p:sldLayoutId id="2147484183" r:id="rId11"/>
    <p:sldLayoutId id="2147484184" r:id="rId12"/>
    <p:sldLayoutId id="2147484185" r:id="rId13"/>
    <p:sldLayoutId id="2147484186" r:id="rId14"/>
    <p:sldLayoutId id="2147484187" r:id="rId15"/>
    <p:sldLayoutId id="2147484188" r:id="rId16"/>
    <p:sldLayoutId id="2147484189" r:id="rId17"/>
    <p:sldLayoutId id="2147484190" r:id="rId18"/>
    <p:sldLayoutId id="2147484191" r:id="rId19"/>
    <p:sldLayoutId id="2147484192" r:id="rId20"/>
    <p:sldLayoutId id="2147484193" r:id="rId21"/>
    <p:sldLayoutId id="2147484194" r:id="rId22"/>
    <p:sldLayoutId id="2147484195" r:id="rId23"/>
    <p:sldLayoutId id="2147484196" r:id="rId24"/>
    <p:sldLayoutId id="2147484197" r:id="rId25"/>
  </p:sldLayoutIdLst>
  <p:hf hdr="0" dt="0"/>
  <p:txStyles>
    <p:titleStyle>
      <a:lvl1pPr algn="l" defTabSz="1015980" rtl="0" eaLnBrk="1" latinLnBrk="0" hangingPunct="1">
        <a:spcBef>
          <a:spcPct val="0"/>
        </a:spcBef>
        <a:buNone/>
        <a:defRPr sz="2667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1015980" rtl="0" eaLnBrk="1" latinLnBrk="0" hangingPunct="1">
        <a:spcBef>
          <a:spcPts val="333"/>
        </a:spcBef>
        <a:buFont typeface="Arial" pitchFamily="34" charset="0"/>
        <a:buNone/>
        <a:defRPr sz="1778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9996" indent="-199996" algn="l" defTabSz="1015980" rtl="0" eaLnBrk="1" latinLnBrk="0" hangingPunct="1">
        <a:spcBef>
          <a:spcPts val="333"/>
        </a:spcBef>
        <a:buClr>
          <a:srgbClr val="002060"/>
        </a:buClr>
        <a:buFontTx/>
        <a:buBlip>
          <a:blip r:embed="rId39"/>
        </a:buBlip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99992" indent="-199996" algn="l" defTabSz="101598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•"/>
        <a:defRPr lang="en-US" sz="1778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99988" indent="-199996" algn="l" defTabSz="101598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–"/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999960" indent="-1999960" algn="l" defTabSz="1015980" rtl="0" eaLnBrk="1" latinLnBrk="0" hangingPunct="1">
        <a:spcBef>
          <a:spcPts val="333"/>
        </a:spcBef>
        <a:buFont typeface="Arial" pitchFamily="34" charset="0"/>
        <a:buNone/>
        <a:defRPr sz="1778" kern="1200">
          <a:solidFill>
            <a:schemeClr val="tx2"/>
          </a:solidFill>
          <a:latin typeface="+mn-lt"/>
          <a:ea typeface="+mn-ea"/>
          <a:cs typeface="+mn-cs"/>
        </a:defRPr>
      </a:lvl5pPr>
      <a:lvl6pPr marL="2793944" indent="-253994" algn="l" defTabSz="101598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301934" indent="-253994" algn="l" defTabSz="101598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09924" indent="-253994" algn="l" defTabSz="101598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17913" indent="-253994" algn="l" defTabSz="101598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598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0" algn="l" defTabSz="101598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80" algn="l" defTabSz="101598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70" algn="l" defTabSz="101598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60" algn="l" defTabSz="101598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50" algn="l" defTabSz="101598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40" algn="l" defTabSz="101598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29" algn="l" defTabSz="101598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18" algn="l" defTabSz="101598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1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2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328086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328086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289970" y="7186833"/>
            <a:ext cx="2160240" cy="256480"/>
          </a:xfrm>
          <a:prstGeom prst="rect">
            <a:avLst/>
          </a:prstGeom>
        </p:spPr>
        <p:txBody>
          <a:bodyPr vert="horz" lIns="80000" tIns="80000" rIns="0" bIns="0" rtlCol="0" anchor="b"/>
          <a:lstStyle/>
          <a:p>
            <a:r>
              <a:rPr lang="en-US" sz="889" dirty="0">
                <a:solidFill>
                  <a:srgbClr val="998F86"/>
                </a:solidFill>
              </a:rPr>
              <a:t>© Western Cape Government  |</a:t>
            </a:r>
            <a:endParaRPr lang="en-GB" sz="889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1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0204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9" r:id="rId1"/>
    <p:sldLayoutId id="2147484200" r:id="rId2"/>
    <p:sldLayoutId id="2147484201" r:id="rId3"/>
    <p:sldLayoutId id="2147484202" r:id="rId4"/>
    <p:sldLayoutId id="2147484203" r:id="rId5"/>
    <p:sldLayoutId id="2147484204" r:id="rId6"/>
    <p:sldLayoutId id="2147484205" r:id="rId7"/>
    <p:sldLayoutId id="2147484206" r:id="rId8"/>
    <p:sldLayoutId id="2147484207" r:id="rId9"/>
    <p:sldLayoutId id="2147484208" r:id="rId10"/>
    <p:sldLayoutId id="2147484209" r:id="rId11"/>
    <p:sldLayoutId id="2147484210" r:id="rId12"/>
    <p:sldLayoutId id="2147484211" r:id="rId13"/>
    <p:sldLayoutId id="2147484212" r:id="rId14"/>
    <p:sldLayoutId id="2147484213" r:id="rId15"/>
    <p:sldLayoutId id="2147484214" r:id="rId16"/>
    <p:sldLayoutId id="2147484215" r:id="rId17"/>
    <p:sldLayoutId id="2147484216" r:id="rId18"/>
    <p:sldLayoutId id="2147484217" r:id="rId19"/>
    <p:sldLayoutId id="2147484218" r:id="rId20"/>
    <p:sldLayoutId id="2147484219" r:id="rId21"/>
    <p:sldLayoutId id="2147484220" r:id="rId22"/>
    <p:sldLayoutId id="2147484221" r:id="rId23"/>
    <p:sldLayoutId id="2147484222" r:id="rId24"/>
    <p:sldLayoutId id="2147484223" r:id="rId25"/>
  </p:sldLayoutIdLst>
  <p:hf hdr="0" dt="0"/>
  <p:txStyles>
    <p:titleStyle>
      <a:lvl1pPr algn="l" defTabSz="1015990" rtl="0" eaLnBrk="1" latinLnBrk="0" hangingPunct="1">
        <a:spcBef>
          <a:spcPct val="0"/>
        </a:spcBef>
        <a:buNone/>
        <a:defRPr sz="2667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1015990" rtl="0" eaLnBrk="1" latinLnBrk="0" hangingPunct="1">
        <a:spcBef>
          <a:spcPts val="333"/>
        </a:spcBef>
        <a:buFont typeface="Arial" pitchFamily="34" charset="0"/>
        <a:buNone/>
        <a:defRPr sz="1778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9998" indent="-199998" algn="l" defTabSz="1015990" rtl="0" eaLnBrk="1" latinLnBrk="0" hangingPunct="1">
        <a:spcBef>
          <a:spcPts val="333"/>
        </a:spcBef>
        <a:buClr>
          <a:srgbClr val="002060"/>
        </a:buClr>
        <a:buFontTx/>
        <a:buBlip>
          <a:blip r:embed="rId39"/>
        </a:buBlip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99996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•"/>
        <a:defRPr lang="en-US" sz="1778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99994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–"/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999980" indent="-1999980" algn="l" defTabSz="1015990" rtl="0" eaLnBrk="1" latinLnBrk="0" hangingPunct="1">
        <a:spcBef>
          <a:spcPts val="333"/>
        </a:spcBef>
        <a:buFont typeface="Arial" pitchFamily="34" charset="0"/>
        <a:buNone/>
        <a:defRPr sz="1778" kern="1200">
          <a:solidFill>
            <a:schemeClr val="tx2"/>
          </a:solidFill>
          <a:latin typeface="+mn-lt"/>
          <a:ea typeface="+mn-ea"/>
          <a:cs typeface="+mn-cs"/>
        </a:defRPr>
      </a:lvl5pPr>
      <a:lvl6pPr marL="279397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1"/>
            </p:custDataLst>
            <p:extLst/>
          </p:nvPr>
        </p:nvGraphicFramePr>
        <p:xfrm>
          <a:off x="1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2"/>
            </p:custDataLst>
          </p:nvPr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2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3"/>
            </p:custDataLst>
          </p:nvPr>
        </p:nvSpPr>
        <p:spPr>
          <a:xfrm>
            <a:off x="328086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4"/>
            </p:custDataLst>
          </p:nvPr>
        </p:nvSpPr>
        <p:spPr>
          <a:xfrm>
            <a:off x="328086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5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Holder 3"/>
          <p:cNvSpPr>
            <a:spLocks noGrp="1"/>
          </p:cNvSpPr>
          <p:nvPr>
            <p:ph type="ftr" sz="quarter" idx="3"/>
          </p:nvPr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3396150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</p:sldLayoutIdLst>
  <p:hf hdr="0" dt="0"/>
  <p:txStyles>
    <p:titleStyle>
      <a:lvl1pPr algn="l" defTabSz="1015990" rtl="0" eaLnBrk="1" latinLnBrk="0" hangingPunct="1">
        <a:spcBef>
          <a:spcPct val="0"/>
        </a:spcBef>
        <a:buNone/>
        <a:defRPr sz="2667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1015990" rtl="0" eaLnBrk="1" latinLnBrk="0" hangingPunct="1">
        <a:spcBef>
          <a:spcPts val="333"/>
        </a:spcBef>
        <a:buFont typeface="Arial" pitchFamily="34" charset="0"/>
        <a:buNone/>
        <a:defRPr sz="1778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9998" indent="-199998" algn="l" defTabSz="1015990" rtl="0" eaLnBrk="1" latinLnBrk="0" hangingPunct="1">
        <a:spcBef>
          <a:spcPts val="333"/>
        </a:spcBef>
        <a:buClr>
          <a:srgbClr val="002060"/>
        </a:buClr>
        <a:buFontTx/>
        <a:buBlip>
          <a:blip r:embed="rId39"/>
        </a:buBlip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99996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•"/>
        <a:defRPr lang="en-US" sz="1778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99994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–"/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999980" indent="-1999980" algn="l" defTabSz="1015990" rtl="0" eaLnBrk="1" latinLnBrk="0" hangingPunct="1">
        <a:spcBef>
          <a:spcPts val="333"/>
        </a:spcBef>
        <a:buFont typeface="Arial" pitchFamily="34" charset="0"/>
        <a:buNone/>
        <a:defRPr sz="1778" kern="1200">
          <a:solidFill>
            <a:schemeClr val="tx2"/>
          </a:solidFill>
          <a:latin typeface="+mn-lt"/>
          <a:ea typeface="+mn-ea"/>
          <a:cs typeface="+mn-cs"/>
        </a:defRPr>
      </a:lvl5pPr>
      <a:lvl6pPr marL="279397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4"/>
            </p:custDataLst>
            <p:extLst/>
          </p:nvPr>
        </p:nvGraphicFramePr>
        <p:xfrm>
          <a:off x="1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8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5"/>
            </p:custDataLst>
          </p:nvPr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2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6"/>
            </p:custDataLst>
          </p:nvPr>
        </p:nvSpPr>
        <p:spPr>
          <a:xfrm>
            <a:off x="328086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7"/>
            </p:custDataLst>
          </p:nvPr>
        </p:nvSpPr>
        <p:spPr>
          <a:xfrm>
            <a:off x="328086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8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9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40"/>
            </p:custDataLst>
          </p:nvPr>
        </p:nvSpPr>
        <p:spPr>
          <a:xfrm>
            <a:off x="2289970" y="7186833"/>
            <a:ext cx="2160240" cy="256480"/>
          </a:xfrm>
          <a:prstGeom prst="rect">
            <a:avLst/>
          </a:prstGeom>
        </p:spPr>
        <p:txBody>
          <a:bodyPr vert="horz" lIns="60000" tIns="60000" rIns="0" bIns="0" rtlCol="0" anchor="b"/>
          <a:lstStyle/>
          <a:p>
            <a:r>
              <a:rPr lang="en-US" sz="667" dirty="0">
                <a:solidFill>
                  <a:srgbClr val="998F86"/>
                </a:solidFill>
              </a:rPr>
              <a:t>© Western Cape Government 2016 |</a:t>
            </a:r>
            <a:endParaRPr lang="en-GB" sz="667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7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5918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4" r:id="rId28"/>
    <p:sldLayoutId id="2147483725" r:id="rId29"/>
    <p:sldLayoutId id="2147483726" r:id="rId30"/>
    <p:sldLayoutId id="2147483729" r:id="rId31"/>
  </p:sldLayoutIdLst>
  <p:hf hdr="0" dt="0"/>
  <p:txStyles>
    <p:titleStyle>
      <a:lvl1pPr algn="l" defTabSz="761992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761992" rtl="0" eaLnBrk="1" latinLnBrk="0" hangingPunct="1">
        <a:spcBef>
          <a:spcPts val="250"/>
        </a:spcBef>
        <a:buFont typeface="Arial" pitchFamily="34" charset="0"/>
        <a:buNone/>
        <a:defRPr sz="1333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49999" indent="-149999" algn="l" defTabSz="761992" rtl="0" eaLnBrk="1" latinLnBrk="0" hangingPunct="1">
        <a:spcBef>
          <a:spcPts val="250"/>
        </a:spcBef>
        <a:buClr>
          <a:srgbClr val="002060"/>
        </a:buClr>
        <a:buFontTx/>
        <a:buBlip>
          <a:blip r:embed="rId45"/>
        </a:buBlip>
        <a:defRPr sz="1333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99997" indent="-149999" algn="l" defTabSz="761992" rtl="0" eaLnBrk="1" latinLnBrk="0" hangingPunct="1">
        <a:spcBef>
          <a:spcPts val="250"/>
        </a:spcBef>
        <a:buClr>
          <a:schemeClr val="accent3"/>
        </a:buClr>
        <a:buFont typeface="Arial" pitchFamily="34" charset="0"/>
        <a:buChar char="•"/>
        <a:defRPr lang="en-US" sz="1333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49996" indent="-149999" algn="l" defTabSz="761992" rtl="0" eaLnBrk="1" latinLnBrk="0" hangingPunct="1">
        <a:spcBef>
          <a:spcPts val="250"/>
        </a:spcBef>
        <a:buClr>
          <a:schemeClr val="accent3"/>
        </a:buClr>
        <a:buFont typeface="Arial" pitchFamily="34" charset="0"/>
        <a:buChar char="–"/>
        <a:defRPr sz="1333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499985" indent="-1499985" algn="l" defTabSz="761992" rtl="0" eaLnBrk="1" latinLnBrk="0" hangingPunct="1">
        <a:spcBef>
          <a:spcPts val="250"/>
        </a:spcBef>
        <a:buFont typeface="Arial" pitchFamily="34" charset="0"/>
        <a:buNone/>
        <a:defRPr sz="1333" kern="1200">
          <a:solidFill>
            <a:schemeClr val="tx2"/>
          </a:solidFill>
          <a:latin typeface="+mn-lt"/>
          <a:ea typeface="+mn-ea"/>
          <a:cs typeface="+mn-cs"/>
        </a:defRPr>
      </a:lvl5pPr>
      <a:lvl6pPr marL="2095479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75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471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468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96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92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89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85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81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77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973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970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1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1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2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28086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28086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Holder 3"/>
          <p:cNvSpPr>
            <a:spLocks noGrp="1"/>
          </p:cNvSpPr>
          <p:nvPr>
            <p:ph type="ftr" sz="quarter" idx="3"/>
          </p:nvPr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729058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  <p:sldLayoutId id="2147483752" r:id="rId21"/>
    <p:sldLayoutId id="2147483753" r:id="rId22"/>
    <p:sldLayoutId id="2147483754" r:id="rId23"/>
    <p:sldLayoutId id="2147483755" r:id="rId24"/>
  </p:sldLayoutIdLst>
  <p:hf hdr="0" dt="0"/>
  <p:txStyles>
    <p:titleStyle>
      <a:lvl1pPr algn="l" defTabSz="1015990" rtl="0" eaLnBrk="1" latinLnBrk="0" hangingPunct="1">
        <a:spcBef>
          <a:spcPct val="0"/>
        </a:spcBef>
        <a:buNone/>
        <a:defRPr sz="2667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1015990" rtl="0" eaLnBrk="1" latinLnBrk="0" hangingPunct="1">
        <a:spcBef>
          <a:spcPts val="333"/>
        </a:spcBef>
        <a:buFont typeface="Arial" pitchFamily="34" charset="0"/>
        <a:buNone/>
        <a:defRPr sz="1778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9998" indent="-199998" algn="l" defTabSz="1015990" rtl="0" eaLnBrk="1" latinLnBrk="0" hangingPunct="1">
        <a:spcBef>
          <a:spcPts val="333"/>
        </a:spcBef>
        <a:buClr>
          <a:srgbClr val="002060"/>
        </a:buClr>
        <a:buFontTx/>
        <a:buBlip>
          <a:blip r:embed="rId35"/>
        </a:buBlip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99996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•"/>
        <a:defRPr lang="en-US" sz="1778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99994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–"/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999980" indent="-1999980" algn="l" defTabSz="1015990" rtl="0" eaLnBrk="1" latinLnBrk="0" hangingPunct="1">
        <a:spcBef>
          <a:spcPts val="333"/>
        </a:spcBef>
        <a:buFont typeface="Arial" pitchFamily="34" charset="0"/>
        <a:buNone/>
        <a:defRPr sz="1778" kern="1200">
          <a:solidFill>
            <a:schemeClr val="tx2"/>
          </a:solidFill>
          <a:latin typeface="+mn-lt"/>
          <a:ea typeface="+mn-ea"/>
          <a:cs typeface="+mn-cs"/>
        </a:defRPr>
      </a:lvl5pPr>
      <a:lvl6pPr marL="279397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1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5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2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28086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28086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Holder 3"/>
          <p:cNvSpPr>
            <a:spLocks noGrp="1"/>
          </p:cNvSpPr>
          <p:nvPr>
            <p:ph type="ftr" sz="quarter" idx="3"/>
          </p:nvPr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2368311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804" r:id="rId24"/>
  </p:sldLayoutIdLst>
  <p:hf hdr="0" dt="0"/>
  <p:txStyles>
    <p:titleStyle>
      <a:lvl1pPr algn="l" defTabSz="1015990" rtl="0" eaLnBrk="1" latinLnBrk="0" hangingPunct="1">
        <a:spcBef>
          <a:spcPct val="0"/>
        </a:spcBef>
        <a:buNone/>
        <a:defRPr sz="2667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1015990" rtl="0" eaLnBrk="1" latinLnBrk="0" hangingPunct="1">
        <a:spcBef>
          <a:spcPts val="333"/>
        </a:spcBef>
        <a:buFont typeface="Arial" pitchFamily="34" charset="0"/>
        <a:buNone/>
        <a:defRPr sz="1778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9998" indent="-199998" algn="l" defTabSz="1015990" rtl="0" eaLnBrk="1" latinLnBrk="0" hangingPunct="1">
        <a:spcBef>
          <a:spcPts val="333"/>
        </a:spcBef>
        <a:buClr>
          <a:srgbClr val="002060"/>
        </a:buClr>
        <a:buFontTx/>
        <a:buBlip>
          <a:blip r:embed="rId35"/>
        </a:buBlip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99996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•"/>
        <a:defRPr lang="en-US" sz="1778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99994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–"/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999980" indent="-1999980" algn="l" defTabSz="1015990" rtl="0" eaLnBrk="1" latinLnBrk="0" hangingPunct="1">
        <a:spcBef>
          <a:spcPts val="333"/>
        </a:spcBef>
        <a:buFont typeface="Arial" pitchFamily="34" charset="0"/>
        <a:buNone/>
        <a:defRPr sz="1778" kern="1200">
          <a:solidFill>
            <a:schemeClr val="tx2"/>
          </a:solidFill>
          <a:latin typeface="+mn-lt"/>
          <a:ea typeface="+mn-ea"/>
          <a:cs typeface="+mn-cs"/>
        </a:defRPr>
      </a:lvl5pPr>
      <a:lvl6pPr marL="279397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4"/>
            </p:custDataLst>
            <p:extLst/>
          </p:nvPr>
        </p:nvGraphicFramePr>
        <p:xfrm>
          <a:off x="1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9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5"/>
            </p:custDataLst>
          </p:nvPr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2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6"/>
            </p:custDataLst>
          </p:nvPr>
        </p:nvSpPr>
        <p:spPr>
          <a:xfrm>
            <a:off x="328086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7"/>
            </p:custDataLst>
          </p:nvPr>
        </p:nvSpPr>
        <p:spPr>
          <a:xfrm>
            <a:off x="328086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8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9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40"/>
            </p:custDataLst>
          </p:nvPr>
        </p:nvSpPr>
        <p:spPr>
          <a:xfrm>
            <a:off x="2289970" y="7186833"/>
            <a:ext cx="2160240" cy="256480"/>
          </a:xfrm>
          <a:prstGeom prst="rect">
            <a:avLst/>
          </a:prstGeom>
        </p:spPr>
        <p:txBody>
          <a:bodyPr vert="horz" lIns="60000" tIns="60000" rIns="0" bIns="0" rtlCol="0" anchor="b"/>
          <a:lstStyle/>
          <a:p>
            <a:r>
              <a:rPr lang="en-US" sz="667" dirty="0">
                <a:solidFill>
                  <a:srgbClr val="998F86"/>
                </a:solidFill>
              </a:rPr>
              <a:t>© Western Cape Government 2016 |</a:t>
            </a:r>
            <a:endParaRPr lang="en-GB" sz="667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7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5114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29" r:id="rId24"/>
    <p:sldLayoutId id="2147483830" r:id="rId25"/>
    <p:sldLayoutId id="2147483831" r:id="rId26"/>
    <p:sldLayoutId id="2147483832" r:id="rId27"/>
    <p:sldLayoutId id="2147483833" r:id="rId28"/>
    <p:sldLayoutId id="2147483834" r:id="rId29"/>
    <p:sldLayoutId id="2147483835" r:id="rId30"/>
    <p:sldLayoutId id="2147483838" r:id="rId31"/>
  </p:sldLayoutIdLst>
  <p:hf hdr="0" dt="0"/>
  <p:txStyles>
    <p:titleStyle>
      <a:lvl1pPr algn="l" defTabSz="761992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761992" rtl="0" eaLnBrk="1" latinLnBrk="0" hangingPunct="1">
        <a:spcBef>
          <a:spcPts val="250"/>
        </a:spcBef>
        <a:buFont typeface="Arial" pitchFamily="34" charset="0"/>
        <a:buNone/>
        <a:defRPr sz="1333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49999" indent="-149999" algn="l" defTabSz="761992" rtl="0" eaLnBrk="1" latinLnBrk="0" hangingPunct="1">
        <a:spcBef>
          <a:spcPts val="250"/>
        </a:spcBef>
        <a:buClr>
          <a:srgbClr val="002060"/>
        </a:buClr>
        <a:buFontTx/>
        <a:buBlip>
          <a:blip r:embed="rId45"/>
        </a:buBlip>
        <a:defRPr sz="1333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99997" indent="-149999" algn="l" defTabSz="761992" rtl="0" eaLnBrk="1" latinLnBrk="0" hangingPunct="1">
        <a:spcBef>
          <a:spcPts val="250"/>
        </a:spcBef>
        <a:buClr>
          <a:schemeClr val="accent3"/>
        </a:buClr>
        <a:buFont typeface="Arial" pitchFamily="34" charset="0"/>
        <a:buChar char="•"/>
        <a:defRPr lang="en-US" sz="1333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49996" indent="-149999" algn="l" defTabSz="761992" rtl="0" eaLnBrk="1" latinLnBrk="0" hangingPunct="1">
        <a:spcBef>
          <a:spcPts val="250"/>
        </a:spcBef>
        <a:buClr>
          <a:schemeClr val="accent3"/>
        </a:buClr>
        <a:buFont typeface="Arial" pitchFamily="34" charset="0"/>
        <a:buChar char="–"/>
        <a:defRPr sz="1333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499985" indent="-1499985" algn="l" defTabSz="761992" rtl="0" eaLnBrk="1" latinLnBrk="0" hangingPunct="1">
        <a:spcBef>
          <a:spcPts val="250"/>
        </a:spcBef>
        <a:buFont typeface="Arial" pitchFamily="34" charset="0"/>
        <a:buNone/>
        <a:defRPr sz="1333" kern="1200">
          <a:solidFill>
            <a:schemeClr val="tx2"/>
          </a:solidFill>
          <a:latin typeface="+mn-lt"/>
          <a:ea typeface="+mn-ea"/>
          <a:cs typeface="+mn-cs"/>
        </a:defRPr>
      </a:lvl5pPr>
      <a:lvl6pPr marL="2095479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75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471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468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96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92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89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85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81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77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973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970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4"/>
            </p:custDataLst>
            <p:extLst/>
          </p:nvPr>
        </p:nvGraphicFramePr>
        <p:xfrm>
          <a:off x="1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7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5"/>
            </p:custDataLst>
          </p:nvPr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2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6"/>
            </p:custDataLst>
          </p:nvPr>
        </p:nvSpPr>
        <p:spPr>
          <a:xfrm>
            <a:off x="328086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7"/>
            </p:custDataLst>
          </p:nvPr>
        </p:nvSpPr>
        <p:spPr>
          <a:xfrm>
            <a:off x="328086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8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9"/>
            </p:custDataLst>
          </p:nvPr>
        </p:nvSpPr>
        <p:spPr>
          <a:xfrm>
            <a:off x="449234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67">
                <a:solidFill>
                  <a:schemeClr val="accent3"/>
                </a:solidFill>
              </a:defRPr>
            </a:lvl1pPr>
          </a:lstStyle>
          <a:p>
            <a:endParaRPr lang="en-GB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40"/>
            </p:custDataLst>
          </p:nvPr>
        </p:nvSpPr>
        <p:spPr>
          <a:xfrm>
            <a:off x="2289970" y="7186833"/>
            <a:ext cx="2160240" cy="256480"/>
          </a:xfrm>
          <a:prstGeom prst="rect">
            <a:avLst/>
          </a:prstGeom>
        </p:spPr>
        <p:txBody>
          <a:bodyPr vert="horz" lIns="60000" tIns="60000" rIns="0" bIns="0" rtlCol="0" anchor="b"/>
          <a:lstStyle/>
          <a:p>
            <a:r>
              <a:rPr lang="en-US" sz="667" dirty="0">
                <a:solidFill>
                  <a:srgbClr val="998F86"/>
                </a:solidFill>
              </a:rPr>
              <a:t>© Western Cape Government 2016 |</a:t>
            </a:r>
            <a:endParaRPr lang="en-GB" sz="667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7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2535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  <p:sldLayoutId id="2147483891" r:id="rId18"/>
    <p:sldLayoutId id="2147483892" r:id="rId19"/>
    <p:sldLayoutId id="2147483893" r:id="rId20"/>
    <p:sldLayoutId id="2147483894" r:id="rId21"/>
    <p:sldLayoutId id="2147483895" r:id="rId22"/>
    <p:sldLayoutId id="2147483896" r:id="rId23"/>
    <p:sldLayoutId id="2147483897" r:id="rId24"/>
    <p:sldLayoutId id="2147483898" r:id="rId25"/>
    <p:sldLayoutId id="2147483899" r:id="rId26"/>
    <p:sldLayoutId id="2147483900" r:id="rId27"/>
    <p:sldLayoutId id="2147483902" r:id="rId28"/>
    <p:sldLayoutId id="2147483903" r:id="rId29"/>
    <p:sldLayoutId id="2147483904" r:id="rId30"/>
    <p:sldLayoutId id="2147483907" r:id="rId31"/>
  </p:sldLayoutIdLst>
  <p:hf hdr="0" dt="0"/>
  <p:txStyles>
    <p:titleStyle>
      <a:lvl1pPr algn="l" defTabSz="761992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761992" rtl="0" eaLnBrk="1" latinLnBrk="0" hangingPunct="1">
        <a:spcBef>
          <a:spcPts val="250"/>
        </a:spcBef>
        <a:buFont typeface="Arial" pitchFamily="34" charset="0"/>
        <a:buNone/>
        <a:defRPr sz="1333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49999" indent="-149999" algn="l" defTabSz="761992" rtl="0" eaLnBrk="1" latinLnBrk="0" hangingPunct="1">
        <a:spcBef>
          <a:spcPts val="250"/>
        </a:spcBef>
        <a:buClr>
          <a:srgbClr val="002060"/>
        </a:buClr>
        <a:buFontTx/>
        <a:buBlip>
          <a:blip r:embed="rId45"/>
        </a:buBlip>
        <a:defRPr sz="1333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99997" indent="-149999" algn="l" defTabSz="761992" rtl="0" eaLnBrk="1" latinLnBrk="0" hangingPunct="1">
        <a:spcBef>
          <a:spcPts val="250"/>
        </a:spcBef>
        <a:buClr>
          <a:schemeClr val="accent3"/>
        </a:buClr>
        <a:buFont typeface="Arial" pitchFamily="34" charset="0"/>
        <a:buChar char="•"/>
        <a:defRPr lang="en-US" sz="1333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49996" indent="-149999" algn="l" defTabSz="761992" rtl="0" eaLnBrk="1" latinLnBrk="0" hangingPunct="1">
        <a:spcBef>
          <a:spcPts val="250"/>
        </a:spcBef>
        <a:buClr>
          <a:schemeClr val="accent3"/>
        </a:buClr>
        <a:buFont typeface="Arial" pitchFamily="34" charset="0"/>
        <a:buChar char="–"/>
        <a:defRPr sz="1333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499985" indent="-1499985" algn="l" defTabSz="761992" rtl="0" eaLnBrk="1" latinLnBrk="0" hangingPunct="1">
        <a:spcBef>
          <a:spcPts val="250"/>
        </a:spcBef>
        <a:buFont typeface="Arial" pitchFamily="34" charset="0"/>
        <a:buNone/>
        <a:defRPr sz="1333" kern="1200">
          <a:solidFill>
            <a:schemeClr val="tx2"/>
          </a:solidFill>
          <a:latin typeface="+mn-lt"/>
          <a:ea typeface="+mn-ea"/>
          <a:cs typeface="+mn-cs"/>
        </a:defRPr>
      </a:lvl5pPr>
      <a:lvl6pPr marL="2095479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75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471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468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96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92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89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85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81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77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973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970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5"/>
            </p:custDataLst>
            <p:extLst/>
          </p:nvPr>
        </p:nvGraphicFramePr>
        <p:xfrm>
          <a:off x="1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7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6"/>
            </p:custDataLst>
          </p:nvPr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2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7"/>
            </p:custDataLst>
          </p:nvPr>
        </p:nvSpPr>
        <p:spPr>
          <a:xfrm>
            <a:off x="328086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8"/>
            </p:custDataLst>
          </p:nvPr>
        </p:nvSpPr>
        <p:spPr>
          <a:xfrm>
            <a:off x="328086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9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75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12" name="Holder 3"/>
          <p:cNvSpPr>
            <a:spLocks noGrp="1"/>
          </p:cNvSpPr>
          <p:nvPr>
            <p:ph type="ftr" sz="quarter" idx="3"/>
          </p:nvPr>
        </p:nvSpPr>
        <p:spPr>
          <a:xfrm>
            <a:off x="180300" y="7334131"/>
            <a:ext cx="4282440" cy="1270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endParaRPr spc="60" dirty="0"/>
          </a:p>
        </p:txBody>
      </p:sp>
    </p:spTree>
    <p:extLst>
      <p:ext uri="{BB962C8B-B14F-4D97-AF65-F5344CB8AC3E}">
        <p14:creationId xmlns:p14="http://schemas.microsoft.com/office/powerpoint/2010/main" val="133815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  <p:sldLayoutId id="2147483941" r:id="rId15"/>
    <p:sldLayoutId id="2147483942" r:id="rId16"/>
    <p:sldLayoutId id="2147483943" r:id="rId17"/>
    <p:sldLayoutId id="2147483944" r:id="rId18"/>
    <p:sldLayoutId id="2147483945" r:id="rId19"/>
    <p:sldLayoutId id="2147483946" r:id="rId20"/>
    <p:sldLayoutId id="2147483947" r:id="rId21"/>
    <p:sldLayoutId id="2147483948" r:id="rId22"/>
    <p:sldLayoutId id="2147483949" r:id="rId23"/>
    <p:sldLayoutId id="2147483950" r:id="rId24"/>
    <p:sldLayoutId id="2147483951" r:id="rId25"/>
    <p:sldLayoutId id="2147483952" r:id="rId26"/>
    <p:sldLayoutId id="2147483953" r:id="rId27"/>
    <p:sldLayoutId id="2147483955" r:id="rId28"/>
    <p:sldLayoutId id="2147483956" r:id="rId29"/>
    <p:sldLayoutId id="2147483957" r:id="rId30"/>
    <p:sldLayoutId id="2147483960" r:id="rId31"/>
    <p:sldLayoutId id="2147483961" r:id="rId32"/>
  </p:sldLayoutIdLst>
  <p:hf hdr="0" dt="0"/>
  <p:txStyles>
    <p:titleStyle>
      <a:lvl1pPr algn="l" defTabSz="761992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761992" rtl="0" eaLnBrk="1" latinLnBrk="0" hangingPunct="1">
        <a:spcBef>
          <a:spcPts val="250"/>
        </a:spcBef>
        <a:buFont typeface="Arial" pitchFamily="34" charset="0"/>
        <a:buNone/>
        <a:defRPr sz="1333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49999" indent="-149999" algn="l" defTabSz="761992" rtl="0" eaLnBrk="1" latinLnBrk="0" hangingPunct="1">
        <a:spcBef>
          <a:spcPts val="250"/>
        </a:spcBef>
        <a:buClr>
          <a:srgbClr val="002060"/>
        </a:buClr>
        <a:buFontTx/>
        <a:buBlip>
          <a:blip r:embed="rId43"/>
        </a:buBlip>
        <a:defRPr sz="1333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99997" indent="-149999" algn="l" defTabSz="761992" rtl="0" eaLnBrk="1" latinLnBrk="0" hangingPunct="1">
        <a:spcBef>
          <a:spcPts val="250"/>
        </a:spcBef>
        <a:buClr>
          <a:schemeClr val="accent3"/>
        </a:buClr>
        <a:buFont typeface="Arial" pitchFamily="34" charset="0"/>
        <a:buChar char="•"/>
        <a:defRPr lang="en-US" sz="1333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49996" indent="-149999" algn="l" defTabSz="761992" rtl="0" eaLnBrk="1" latinLnBrk="0" hangingPunct="1">
        <a:spcBef>
          <a:spcPts val="250"/>
        </a:spcBef>
        <a:buClr>
          <a:schemeClr val="accent3"/>
        </a:buClr>
        <a:buFont typeface="Arial" pitchFamily="34" charset="0"/>
        <a:buChar char="–"/>
        <a:defRPr sz="1333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499985" indent="-1499985" algn="l" defTabSz="761992" rtl="0" eaLnBrk="1" latinLnBrk="0" hangingPunct="1">
        <a:spcBef>
          <a:spcPts val="250"/>
        </a:spcBef>
        <a:buFont typeface="Arial" pitchFamily="34" charset="0"/>
        <a:buNone/>
        <a:defRPr sz="1333" kern="1200">
          <a:solidFill>
            <a:schemeClr val="tx2"/>
          </a:solidFill>
          <a:latin typeface="+mn-lt"/>
          <a:ea typeface="+mn-ea"/>
          <a:cs typeface="+mn-cs"/>
        </a:defRPr>
      </a:lvl5pPr>
      <a:lvl6pPr marL="2095479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75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471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468" indent="-190498" algn="l" defTabSz="761992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96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92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89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85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81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77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973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970" algn="l" defTabSz="76199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1" y="0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22482"/>
            <a:ext cx="10160000" cy="41930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328086" y="201084"/>
            <a:ext cx="9552450" cy="621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328086" y="1329725"/>
            <a:ext cx="9552450" cy="542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9308978" y="7186833"/>
            <a:ext cx="571556" cy="256480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10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492316" y="7186833"/>
            <a:ext cx="4598414" cy="256480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89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289970" y="7186833"/>
            <a:ext cx="2160240" cy="256480"/>
          </a:xfrm>
          <a:prstGeom prst="rect">
            <a:avLst/>
          </a:prstGeom>
        </p:spPr>
        <p:txBody>
          <a:bodyPr vert="horz" lIns="80000" tIns="80000" rIns="0" bIns="0" rtlCol="0" anchor="b"/>
          <a:lstStyle/>
          <a:p>
            <a:r>
              <a:rPr lang="en-US" sz="889" dirty="0">
                <a:solidFill>
                  <a:srgbClr val="998F86"/>
                </a:solidFill>
              </a:rPr>
              <a:t>© Western Cape Government  |</a:t>
            </a:r>
            <a:endParaRPr lang="en-GB" sz="889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19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018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  <p:sldLayoutId id="2147483968" r:id="rId6"/>
    <p:sldLayoutId id="2147483969" r:id="rId7"/>
    <p:sldLayoutId id="2147483970" r:id="rId8"/>
    <p:sldLayoutId id="2147483971" r:id="rId9"/>
    <p:sldLayoutId id="2147483972" r:id="rId10"/>
    <p:sldLayoutId id="2147483973" r:id="rId11"/>
    <p:sldLayoutId id="2147483974" r:id="rId12"/>
    <p:sldLayoutId id="2147483975" r:id="rId13"/>
    <p:sldLayoutId id="2147483976" r:id="rId14"/>
    <p:sldLayoutId id="2147483977" r:id="rId15"/>
    <p:sldLayoutId id="2147483978" r:id="rId16"/>
    <p:sldLayoutId id="2147483979" r:id="rId17"/>
    <p:sldLayoutId id="2147483980" r:id="rId18"/>
    <p:sldLayoutId id="2147483981" r:id="rId19"/>
    <p:sldLayoutId id="2147483982" r:id="rId20"/>
    <p:sldLayoutId id="2147483983" r:id="rId21"/>
    <p:sldLayoutId id="2147483984" r:id="rId22"/>
    <p:sldLayoutId id="2147483985" r:id="rId23"/>
    <p:sldLayoutId id="2147483986" r:id="rId24"/>
    <p:sldLayoutId id="2147483987" r:id="rId25"/>
  </p:sldLayoutIdLst>
  <p:hf hdr="0" dt="0"/>
  <p:txStyles>
    <p:titleStyle>
      <a:lvl1pPr algn="l" defTabSz="1015990" rtl="0" eaLnBrk="1" latinLnBrk="0" hangingPunct="1">
        <a:spcBef>
          <a:spcPct val="0"/>
        </a:spcBef>
        <a:buNone/>
        <a:defRPr sz="2667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1015990" rtl="0" eaLnBrk="1" latinLnBrk="0" hangingPunct="1">
        <a:spcBef>
          <a:spcPts val="333"/>
        </a:spcBef>
        <a:buFont typeface="Arial" pitchFamily="34" charset="0"/>
        <a:buNone/>
        <a:defRPr sz="1778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9998" indent="-199998" algn="l" defTabSz="1015990" rtl="0" eaLnBrk="1" latinLnBrk="0" hangingPunct="1">
        <a:spcBef>
          <a:spcPts val="333"/>
        </a:spcBef>
        <a:buClr>
          <a:srgbClr val="002060"/>
        </a:buClr>
        <a:buFontTx/>
        <a:buBlip>
          <a:blip r:embed="rId39"/>
        </a:buBlip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99996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•"/>
        <a:defRPr lang="en-US" sz="1778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99994" indent="-199998" algn="l" defTabSz="1015990" rtl="0" eaLnBrk="1" latinLnBrk="0" hangingPunct="1">
        <a:spcBef>
          <a:spcPts val="333"/>
        </a:spcBef>
        <a:buClr>
          <a:schemeClr val="accent3"/>
        </a:buClr>
        <a:buFont typeface="Arial" pitchFamily="34" charset="0"/>
        <a:buChar char="–"/>
        <a:defRPr sz="1778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999980" indent="-1999980" algn="l" defTabSz="1015990" rtl="0" eaLnBrk="1" latinLnBrk="0" hangingPunct="1">
        <a:spcBef>
          <a:spcPts val="333"/>
        </a:spcBef>
        <a:buFont typeface="Arial" pitchFamily="34" charset="0"/>
        <a:buNone/>
        <a:defRPr sz="1778" kern="1200">
          <a:solidFill>
            <a:schemeClr val="tx2"/>
          </a:solidFill>
          <a:latin typeface="+mn-lt"/>
          <a:ea typeface="+mn-ea"/>
          <a:cs typeface="+mn-cs"/>
        </a:defRPr>
      </a:lvl5pPr>
      <a:lvl6pPr marL="279397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spcBef>
          <a:spcPct val="20000"/>
        </a:spcBef>
        <a:buFont typeface="Arial" pitchFamily="34" charset="0"/>
        <a:buChar char="•"/>
        <a:defRPr sz="22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9.xml"/><Relationship Id="rId4" Type="http://schemas.openxmlformats.org/officeDocument/2006/relationships/image" Target="../media/image52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6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6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6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6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6.xml"/><Relationship Id="rId5" Type="http://schemas.openxmlformats.org/officeDocument/2006/relationships/image" Target="../media/image7.png"/><Relationship Id="rId4" Type="http://schemas.openxmlformats.org/officeDocument/2006/relationships/image" Target="../media/image4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6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6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6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66.xml"/><Relationship Id="rId5" Type="http://schemas.openxmlformats.org/officeDocument/2006/relationships/hyperlink" Target="http://www.westerncape.gov.za/" TargetMode="External"/><Relationship Id="rId4" Type="http://schemas.openxmlformats.org/officeDocument/2006/relationships/hyperlink" Target="mailto:Victoria.Tully@westerncape.gov.za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4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08.xml"/><Relationship Id="rId13" Type="http://schemas.openxmlformats.org/officeDocument/2006/relationships/image" Target="../media/image7.png"/><Relationship Id="rId3" Type="http://schemas.openxmlformats.org/officeDocument/2006/relationships/tags" Target="../tags/tag603.xml"/><Relationship Id="rId7" Type="http://schemas.openxmlformats.org/officeDocument/2006/relationships/tags" Target="../tags/tag607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602.xml"/><Relationship Id="rId1" Type="http://schemas.openxmlformats.org/officeDocument/2006/relationships/tags" Target="../tags/tag601.xml"/><Relationship Id="rId6" Type="http://schemas.openxmlformats.org/officeDocument/2006/relationships/tags" Target="../tags/tag606.xml"/><Relationship Id="rId11" Type="http://schemas.openxmlformats.org/officeDocument/2006/relationships/slideLayout" Target="../slideLayouts/slideLayout284.xml"/><Relationship Id="rId5" Type="http://schemas.openxmlformats.org/officeDocument/2006/relationships/tags" Target="../tags/tag605.xml"/><Relationship Id="rId10" Type="http://schemas.openxmlformats.org/officeDocument/2006/relationships/tags" Target="../tags/tag610.xml"/><Relationship Id="rId4" Type="http://schemas.openxmlformats.org/officeDocument/2006/relationships/tags" Target="../tags/tag604.xml"/><Relationship Id="rId9" Type="http://schemas.openxmlformats.org/officeDocument/2006/relationships/tags" Target="../tags/tag60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35732" y="-22039"/>
            <a:ext cx="10195732" cy="8380947"/>
          </a:xfrm>
          <a:custGeom>
            <a:avLst/>
            <a:gdLst/>
            <a:ahLst/>
            <a:cxnLst/>
            <a:rect l="l" t="t" r="r" b="b"/>
            <a:pathLst>
              <a:path w="10160000" h="7620000">
                <a:moveTo>
                  <a:pt x="0" y="7619999"/>
                </a:moveTo>
                <a:lnTo>
                  <a:pt x="10159989" y="7619999"/>
                </a:lnTo>
                <a:lnTo>
                  <a:pt x="10159989" y="0"/>
                </a:lnTo>
                <a:lnTo>
                  <a:pt x="0" y="0"/>
                </a:lnTo>
                <a:lnTo>
                  <a:pt x="0" y="7619999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457200" y="457200"/>
            <a:ext cx="3669665" cy="1139190"/>
          </a:xfrm>
          <a:custGeom>
            <a:avLst/>
            <a:gdLst/>
            <a:ahLst/>
            <a:cxnLst/>
            <a:rect l="l" t="t" r="r" b="b"/>
            <a:pathLst>
              <a:path w="3669665" h="1139190">
                <a:moveTo>
                  <a:pt x="3669456" y="0"/>
                </a:moveTo>
                <a:lnTo>
                  <a:pt x="569415" y="0"/>
                </a:lnTo>
                <a:lnTo>
                  <a:pt x="522785" y="1891"/>
                </a:lnTo>
                <a:lnTo>
                  <a:pt x="477180" y="7465"/>
                </a:lnTo>
                <a:lnTo>
                  <a:pt x="432749" y="16576"/>
                </a:lnTo>
                <a:lnTo>
                  <a:pt x="389637" y="29075"/>
                </a:lnTo>
                <a:lnTo>
                  <a:pt x="347995" y="44815"/>
                </a:lnTo>
                <a:lnTo>
                  <a:pt x="307968" y="63648"/>
                </a:lnTo>
                <a:lnTo>
                  <a:pt x="269704" y="85426"/>
                </a:lnTo>
                <a:lnTo>
                  <a:pt x="233353" y="110003"/>
                </a:lnTo>
                <a:lnTo>
                  <a:pt x="199060" y="137229"/>
                </a:lnTo>
                <a:lnTo>
                  <a:pt x="166975" y="166958"/>
                </a:lnTo>
                <a:lnTo>
                  <a:pt x="137244" y="199041"/>
                </a:lnTo>
                <a:lnTo>
                  <a:pt x="110015" y="233332"/>
                </a:lnTo>
                <a:lnTo>
                  <a:pt x="85437" y="269682"/>
                </a:lnTo>
                <a:lnTo>
                  <a:pt x="63656" y="307944"/>
                </a:lnTo>
                <a:lnTo>
                  <a:pt x="44821" y="347970"/>
                </a:lnTo>
                <a:lnTo>
                  <a:pt x="29079" y="389613"/>
                </a:lnTo>
                <a:lnTo>
                  <a:pt x="16578" y="432725"/>
                </a:lnTo>
                <a:lnTo>
                  <a:pt x="7466" y="477157"/>
                </a:lnTo>
                <a:lnTo>
                  <a:pt x="1891" y="522764"/>
                </a:lnTo>
                <a:lnTo>
                  <a:pt x="0" y="569396"/>
                </a:lnTo>
                <a:lnTo>
                  <a:pt x="1891" y="616029"/>
                </a:lnTo>
                <a:lnTo>
                  <a:pt x="7466" y="661635"/>
                </a:lnTo>
                <a:lnTo>
                  <a:pt x="16578" y="706068"/>
                </a:lnTo>
                <a:lnTo>
                  <a:pt x="29078" y="749180"/>
                </a:lnTo>
                <a:lnTo>
                  <a:pt x="44819" y="790823"/>
                </a:lnTo>
                <a:lnTo>
                  <a:pt x="63653" y="830849"/>
                </a:lnTo>
                <a:lnTo>
                  <a:pt x="85433" y="869111"/>
                </a:lnTo>
                <a:lnTo>
                  <a:pt x="110010" y="905461"/>
                </a:lnTo>
                <a:lnTo>
                  <a:pt x="137238" y="939752"/>
                </a:lnTo>
                <a:lnTo>
                  <a:pt x="166967" y="971835"/>
                </a:lnTo>
                <a:lnTo>
                  <a:pt x="199052" y="1001564"/>
                </a:lnTo>
                <a:lnTo>
                  <a:pt x="233343" y="1028790"/>
                </a:lnTo>
                <a:lnTo>
                  <a:pt x="269693" y="1053366"/>
                </a:lnTo>
                <a:lnTo>
                  <a:pt x="307955" y="1075145"/>
                </a:lnTo>
                <a:lnTo>
                  <a:pt x="347980" y="1093978"/>
                </a:lnTo>
                <a:lnTo>
                  <a:pt x="389622" y="1109718"/>
                </a:lnTo>
                <a:lnTo>
                  <a:pt x="432732" y="1122217"/>
                </a:lnTo>
                <a:lnTo>
                  <a:pt x="477162" y="1131327"/>
                </a:lnTo>
                <a:lnTo>
                  <a:pt x="522765" y="1136902"/>
                </a:lnTo>
                <a:lnTo>
                  <a:pt x="569393" y="1138793"/>
                </a:lnTo>
                <a:lnTo>
                  <a:pt x="3669456" y="1138793"/>
                </a:lnTo>
                <a:lnTo>
                  <a:pt x="3669456" y="581040"/>
                </a:lnTo>
                <a:lnTo>
                  <a:pt x="1138510" y="581040"/>
                </a:lnTo>
                <a:lnTo>
                  <a:pt x="1138595" y="577321"/>
                </a:lnTo>
                <a:lnTo>
                  <a:pt x="1138796" y="573603"/>
                </a:lnTo>
                <a:lnTo>
                  <a:pt x="1138796" y="569854"/>
                </a:lnTo>
                <a:lnTo>
                  <a:pt x="3669456" y="569854"/>
                </a:lnTo>
                <a:lnTo>
                  <a:pt x="3669456" y="0"/>
                </a:lnTo>
                <a:close/>
              </a:path>
              <a:path w="3669665" h="1139190">
                <a:moveTo>
                  <a:pt x="3669456" y="569854"/>
                </a:moveTo>
                <a:lnTo>
                  <a:pt x="1138796" y="569854"/>
                </a:lnTo>
                <a:lnTo>
                  <a:pt x="1138796" y="581040"/>
                </a:lnTo>
                <a:lnTo>
                  <a:pt x="3669456" y="581040"/>
                </a:lnTo>
                <a:lnTo>
                  <a:pt x="3669456" y="569854"/>
                </a:lnTo>
                <a:close/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484595" y="484540"/>
            <a:ext cx="1084042" cy="108408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1723525" y="1322771"/>
            <a:ext cx="2189100" cy="14368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1717334" y="583875"/>
            <a:ext cx="1796216" cy="44878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1709998" y="2267982"/>
            <a:ext cx="8450580" cy="187325"/>
          </a:xfrm>
          <a:custGeom>
            <a:avLst/>
            <a:gdLst/>
            <a:ahLst/>
            <a:cxnLst/>
            <a:rect l="l" t="t" r="r" b="b"/>
            <a:pathLst>
              <a:path w="8450580" h="187325">
                <a:moveTo>
                  <a:pt x="8450001" y="0"/>
                </a:moveTo>
                <a:lnTo>
                  <a:pt x="0" y="187212"/>
                </a:lnTo>
                <a:lnTo>
                  <a:pt x="8450001" y="187212"/>
                </a:lnTo>
                <a:lnTo>
                  <a:pt x="8450001" y="0"/>
                </a:lnTo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 txBox="1"/>
          <p:nvPr/>
        </p:nvSpPr>
        <p:spPr>
          <a:xfrm>
            <a:off x="3708401" y="6016635"/>
            <a:ext cx="6313380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ZA" sz="1600" b="1" spc="345" dirty="0">
                <a:solidFill>
                  <a:srgbClr val="FFFFFF"/>
                </a:solidFill>
                <a:latin typeface="Century Gothic" panose="020B0502020202020204" pitchFamily="34" charset="0"/>
                <a:cs typeface="Times New Roman"/>
              </a:rPr>
              <a:t>                                     </a:t>
            </a:r>
          </a:p>
          <a:p>
            <a:pPr marL="12700">
              <a:lnSpc>
                <a:spcPct val="100000"/>
              </a:lnSpc>
            </a:pPr>
            <a:endParaRPr lang="en-ZA" sz="1600" b="1" spc="345" dirty="0">
              <a:solidFill>
                <a:srgbClr val="FFFFFF"/>
              </a:solidFill>
              <a:latin typeface="Century Gothic" panose="020B0502020202020204" pitchFamily="34" charset="0"/>
              <a:cs typeface="Times New Roman"/>
            </a:endParaRPr>
          </a:p>
          <a:p>
            <a:pPr marL="3670300" lvl="8"/>
            <a:r>
              <a:rPr lang="en-ZA" sz="1600" b="1" spc="345" dirty="0">
                <a:solidFill>
                  <a:srgbClr val="FFFFFF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endParaRPr lang="en-ZA" sz="1600" spc="345" dirty="0">
              <a:solidFill>
                <a:srgbClr val="FFFFFF"/>
              </a:solidFill>
              <a:latin typeface="Century Gothic" panose="020B0502020202020204" pitchFamily="34" charset="0"/>
              <a:cs typeface="Times New Roman"/>
            </a:endParaRPr>
          </a:p>
          <a:p>
            <a:pPr marL="1341755">
              <a:lnSpc>
                <a:spcPct val="100000"/>
              </a:lnSpc>
            </a:pPr>
            <a:r>
              <a:rPr lang="en-ZA" sz="1600" spc="345" dirty="0">
                <a:solidFill>
                  <a:srgbClr val="FFFFFF"/>
                </a:solidFill>
                <a:latin typeface="Century Gothic" panose="020B0502020202020204" pitchFamily="34" charset="0"/>
                <a:cs typeface="Times New Roman"/>
              </a:rPr>
              <a:t>            </a:t>
            </a:r>
            <a:r>
              <a:rPr lang="en-ZA" sz="1600" b="1" spc="345" dirty="0">
                <a:latin typeface="Century Gothic" panose="020B0502020202020204" pitchFamily="34" charset="0"/>
                <a:cs typeface="Times New Roman"/>
              </a:rPr>
              <a:t>Presented by Victoria Tully</a:t>
            </a:r>
          </a:p>
          <a:p>
            <a:pPr marL="1341755">
              <a:lnSpc>
                <a:spcPct val="100000"/>
              </a:lnSpc>
            </a:pPr>
            <a:r>
              <a:rPr lang="en-ZA" sz="1600" b="1" spc="345" dirty="0">
                <a:latin typeface="Century Gothic" panose="020B0502020202020204" pitchFamily="34" charset="0"/>
                <a:cs typeface="Times New Roman"/>
              </a:rPr>
              <a:t>            15</a:t>
            </a:r>
            <a:r>
              <a:rPr lang="en-ZA" sz="1600" b="1" spc="345" baseline="30000" dirty="0">
                <a:latin typeface="Century Gothic" panose="020B0502020202020204" pitchFamily="34" charset="0"/>
                <a:cs typeface="Times New Roman"/>
              </a:rPr>
              <a:t>th</a:t>
            </a:r>
            <a:r>
              <a:rPr lang="en-ZA" sz="1600" b="1" spc="345" dirty="0">
                <a:latin typeface="Century Gothic" panose="020B0502020202020204" pitchFamily="34" charset="0"/>
                <a:cs typeface="Times New Roman"/>
              </a:rPr>
              <a:t> November 2019 AEA</a:t>
            </a:r>
            <a:endParaRPr sz="1600" b="1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79400" y="2697660"/>
            <a:ext cx="9783942" cy="267765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endParaRPr lang="en-US" dirty="0"/>
          </a:p>
          <a:p>
            <a:r>
              <a:rPr lang="en-US" sz="2400" b="1" spc="245" dirty="0">
                <a:latin typeface="Century Gothic" panose="020B0502020202020204" pitchFamily="34" charset="0"/>
                <a:cs typeface="Times New Roman"/>
              </a:rPr>
              <a:t>THE UTILISATION OF EVALUTATION EVIDENCE FOR SALIENT OUTCOMES </a:t>
            </a:r>
          </a:p>
          <a:p>
            <a:r>
              <a:rPr lang="en-US" sz="2400" b="1" spc="245" dirty="0">
                <a:latin typeface="Century Gothic" panose="020B0502020202020204" pitchFamily="34" charset="0"/>
                <a:cs typeface="Times New Roman"/>
              </a:rPr>
              <a:t>A Case Study of the Provincial Evaluation System of the Western Cape Government of South Africa</a:t>
            </a:r>
            <a:endParaRPr lang="en-ZA" sz="2400" b="1" spc="245" dirty="0">
              <a:latin typeface="Century Gothic" panose="020B0502020202020204" pitchFamily="34" charset="0"/>
              <a:cs typeface="Times New Roman"/>
            </a:endParaRPr>
          </a:p>
          <a:p>
            <a:pPr marR="5080" lvl="1" indent="11113"/>
            <a:endParaRPr lang="en-ZA" sz="2400" spc="245" dirty="0">
              <a:latin typeface="Century Gothic" panose="020B0502020202020204" pitchFamily="34" charset="0"/>
              <a:cs typeface="Times New Roman"/>
            </a:endParaRPr>
          </a:p>
          <a:p>
            <a:pPr marL="0" marR="5080" lvl="1"/>
            <a:r>
              <a:rPr lang="en-ZA" spc="245" dirty="0">
                <a:latin typeface="Century Gothic" panose="020B0502020202020204" pitchFamily="34" charset="0"/>
                <a:cs typeface="Times New Roman"/>
              </a:rPr>
              <a:t>Core Evaluation Team: Zeenat Ishmail, Amina Mohamed, Rowina Wynford and Victoria Tully</a:t>
            </a:r>
            <a:endParaRPr lang="en-US" spc="245" dirty="0">
              <a:latin typeface="Century Gothic" panose="020B0502020202020204" pitchFamily="34" charset="0"/>
              <a:cs typeface="Times New Roman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lang="en-ZA" spc="80" smtClean="0"/>
              <a:t>1</a:t>
            </a:fld>
            <a:endParaRPr lang="en-ZA" spc="80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endParaRPr lang="en-US" spc="6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 txBox="1">
            <a:spLocks/>
          </p:cNvSpPr>
          <p:nvPr/>
        </p:nvSpPr>
        <p:spPr>
          <a:xfrm>
            <a:off x="508000" y="296487"/>
            <a:ext cx="9880536" cy="12192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1015990" rtl="0" eaLnBrk="1" latinLnBrk="0" hangingPunct="1">
              <a:spcBef>
                <a:spcPct val="0"/>
              </a:spcBef>
              <a:buNone/>
              <a:defRPr sz="2667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ZA" sz="3200" dirty="0"/>
              <a:t>Developing a Data &amp; Evidence Archite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FF60B0-2F55-4BD2-B6D3-BEA7D6035A25}"/>
              </a:ext>
            </a:extLst>
          </p:cNvPr>
          <p:cNvSpPr/>
          <p:nvPr/>
        </p:nvSpPr>
        <p:spPr>
          <a:xfrm>
            <a:off x="206391" y="3135131"/>
            <a:ext cx="4509085" cy="3760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187" indent="-237488" defTabSz="1015990">
              <a:spcBef>
                <a:spcPts val="1416"/>
              </a:spcBef>
              <a:buClr>
                <a:srgbClr val="333333"/>
              </a:buClr>
              <a:buFont typeface="Times New Roman"/>
              <a:buChar char="•"/>
              <a:tabLst>
                <a:tab pos="250187" algn="l"/>
              </a:tabLst>
              <a:defRPr/>
            </a:pPr>
            <a:r>
              <a:rPr lang="en-US" sz="1600" b="1" spc="229" dirty="0">
                <a:solidFill>
                  <a:srgbClr val="333333"/>
                </a:solidFill>
                <a:latin typeface="Century Gothic" panose="020B0502020202020204" pitchFamily="34" charset="0"/>
                <a:cs typeface="Times New Roman"/>
              </a:rPr>
              <a:t>Fulfilling the Data and Evidence Demand:  </a:t>
            </a:r>
            <a:r>
              <a:rPr lang="en-US" sz="1600" spc="229" dirty="0">
                <a:solidFill>
                  <a:srgbClr val="333333"/>
                </a:solidFill>
                <a:latin typeface="Century Gothic" panose="020B0502020202020204" pitchFamily="34" charset="0"/>
                <a:cs typeface="Times New Roman"/>
              </a:rPr>
              <a:t>Evaluation and Research evidence </a:t>
            </a:r>
            <a:r>
              <a:rPr lang="en-US" sz="1600" spc="229" dirty="0" err="1">
                <a:solidFill>
                  <a:srgbClr val="333333"/>
                </a:solidFill>
                <a:latin typeface="Century Gothic" panose="020B0502020202020204" pitchFamily="34" charset="0"/>
                <a:cs typeface="Times New Roman"/>
              </a:rPr>
              <a:t>colliated</a:t>
            </a:r>
            <a:r>
              <a:rPr lang="en-US" sz="1600" spc="229" dirty="0">
                <a:solidFill>
                  <a:srgbClr val="333333"/>
                </a:solidFill>
                <a:latin typeface="Century Gothic" panose="020B0502020202020204" pitchFamily="34" charset="0"/>
                <a:cs typeface="Times New Roman"/>
              </a:rPr>
              <a:t> and coordinated </a:t>
            </a:r>
          </a:p>
          <a:p>
            <a:pPr marL="250187" indent="-237488" defTabSz="1015990">
              <a:spcBef>
                <a:spcPts val="1416"/>
              </a:spcBef>
              <a:buClr>
                <a:srgbClr val="333333"/>
              </a:buClr>
              <a:buFont typeface="Times New Roman"/>
              <a:buChar char="•"/>
              <a:tabLst>
                <a:tab pos="250187" algn="l"/>
              </a:tabLst>
              <a:defRPr/>
            </a:pPr>
            <a:r>
              <a:rPr lang="en-US" sz="1600" b="1" spc="229" dirty="0">
                <a:solidFill>
                  <a:srgbClr val="333333"/>
                </a:solidFill>
                <a:latin typeface="Century Gothic" panose="020B0502020202020204" pitchFamily="34" charset="0"/>
                <a:cs typeface="Times New Roman"/>
              </a:rPr>
              <a:t>Policy Themes</a:t>
            </a:r>
            <a:r>
              <a:rPr lang="en-US" sz="1600" b="1" spc="-80" dirty="0">
                <a:solidFill>
                  <a:srgbClr val="333333"/>
                </a:solidFill>
                <a:latin typeface="Century Gothic" panose="020B0502020202020204" pitchFamily="34" charset="0"/>
                <a:cs typeface="Arial"/>
              </a:rPr>
              <a:t>:</a:t>
            </a:r>
            <a:r>
              <a:rPr lang="en-US" sz="1600" b="1" spc="160" dirty="0">
                <a:solidFill>
                  <a:srgbClr val="333333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r>
              <a:rPr lang="en-US" sz="1600" spc="160" dirty="0">
                <a:solidFill>
                  <a:srgbClr val="333333"/>
                </a:solidFill>
                <a:latin typeface="Century Gothic" panose="020B0502020202020204" pitchFamily="34" charset="0"/>
                <a:cs typeface="Times New Roman"/>
              </a:rPr>
              <a:t>Evidence Grouped across Five VIP Priority Areas</a:t>
            </a:r>
          </a:p>
          <a:p>
            <a:pPr marL="250187" indent="-237488" defTabSz="1015990">
              <a:spcBef>
                <a:spcPts val="1416"/>
              </a:spcBef>
              <a:buClr>
                <a:srgbClr val="333333"/>
              </a:buClr>
              <a:buFont typeface="Times New Roman"/>
              <a:buChar char="•"/>
              <a:tabLst>
                <a:tab pos="250187" algn="l"/>
              </a:tabLst>
              <a:defRPr/>
            </a:pPr>
            <a:r>
              <a:rPr lang="en-US" sz="1600" b="1" spc="160" dirty="0">
                <a:solidFill>
                  <a:srgbClr val="333333"/>
                </a:solidFill>
                <a:latin typeface="Century Gothic" panose="020B0502020202020204" pitchFamily="34" charset="0"/>
                <a:cs typeface="Times New Roman"/>
              </a:rPr>
              <a:t>Quality Assured</a:t>
            </a:r>
            <a:endParaRPr lang="en-US" sz="1600" spc="160" dirty="0">
              <a:solidFill>
                <a:srgbClr val="333333"/>
              </a:solidFill>
              <a:latin typeface="Century Gothic" panose="020B0502020202020204" pitchFamily="34" charset="0"/>
              <a:cs typeface="Times New Roman"/>
            </a:endParaRPr>
          </a:p>
          <a:p>
            <a:pPr marL="250187" indent="-237488" defTabSz="1015990">
              <a:spcBef>
                <a:spcPts val="1416"/>
              </a:spcBef>
              <a:buClr>
                <a:srgbClr val="333333"/>
              </a:buClr>
              <a:buFont typeface="Times New Roman"/>
              <a:buChar char="•"/>
              <a:tabLst>
                <a:tab pos="250187" algn="l"/>
              </a:tabLst>
              <a:defRPr/>
            </a:pPr>
            <a:r>
              <a:rPr lang="en-US" sz="1600" b="1" spc="160" dirty="0">
                <a:solidFill>
                  <a:srgbClr val="333333"/>
                </a:solidFill>
                <a:latin typeface="Century Gothic" panose="020B0502020202020204" pitchFamily="34" charset="0"/>
                <a:cs typeface="Times New Roman"/>
              </a:rPr>
              <a:t>Accessible &amp; Ready for </a:t>
            </a:r>
            <a:r>
              <a:rPr lang="en-US" sz="1600" b="1" spc="160" dirty="0" err="1">
                <a:solidFill>
                  <a:srgbClr val="333333"/>
                </a:solidFill>
                <a:latin typeface="Century Gothic" panose="020B0502020202020204" pitchFamily="34" charset="0"/>
                <a:cs typeface="Times New Roman"/>
              </a:rPr>
              <a:t>Utilisation</a:t>
            </a:r>
            <a:endParaRPr lang="en-US" sz="1600" b="1" spc="160" dirty="0">
              <a:solidFill>
                <a:srgbClr val="333333"/>
              </a:solidFill>
              <a:latin typeface="Century Gothic" panose="020B0502020202020204" pitchFamily="34" charset="0"/>
              <a:cs typeface="Times New Roman"/>
            </a:endParaRPr>
          </a:p>
          <a:p>
            <a:pPr marL="250187" indent="-237488" defTabSz="1015990">
              <a:spcBef>
                <a:spcPts val="1416"/>
              </a:spcBef>
              <a:buClr>
                <a:srgbClr val="333333"/>
              </a:buClr>
              <a:buFont typeface="Times New Roman"/>
              <a:buChar char="•"/>
              <a:tabLst>
                <a:tab pos="250187" algn="l"/>
              </a:tabLst>
              <a:defRPr/>
            </a:pPr>
            <a:r>
              <a:rPr lang="en-US" sz="1600" b="1" spc="160" dirty="0">
                <a:solidFill>
                  <a:srgbClr val="333333"/>
                </a:solidFill>
                <a:latin typeface="Century Gothic" panose="020B0502020202020204" pitchFamily="34" charset="0"/>
                <a:cs typeface="Times New Roman"/>
              </a:rPr>
              <a:t>Communicated Timeously </a:t>
            </a:r>
            <a:endParaRPr lang="en-US" sz="1600" spc="160" dirty="0">
              <a:solidFill>
                <a:srgbClr val="333333"/>
              </a:solidFill>
              <a:latin typeface="Century Gothic" panose="020B0502020202020204" pitchFamily="34" charset="0"/>
              <a:cs typeface="Times New Roman"/>
            </a:endParaRPr>
          </a:p>
          <a:p>
            <a:pPr marL="12699" defTabSz="1015990">
              <a:spcBef>
                <a:spcPts val="1416"/>
              </a:spcBef>
              <a:buClr>
                <a:srgbClr val="333333"/>
              </a:buClr>
              <a:tabLst>
                <a:tab pos="250187" algn="l"/>
              </a:tabLst>
              <a:defRPr/>
            </a:pPr>
            <a:endParaRPr lang="en-US" sz="2000" dirty="0">
              <a:solidFill>
                <a:prstClr val="black"/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3A7389-E256-4539-8651-68D305B4B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F04C5F-2643-41BC-8D58-057280DFA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061A10-7A71-4A9C-B9C1-D1D7630BC6FA}" type="slidenum">
              <a:rPr lang="en-US" smtClean="0"/>
              <a:t>10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B62EDC-7988-422A-A02D-1AC86AD695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1051" y="1295400"/>
            <a:ext cx="3800944" cy="508169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E3CF43-A943-4B00-8246-68F40422B1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697" y="4784183"/>
            <a:ext cx="4343400" cy="21717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9C08957-5C37-48E5-B41B-C9E0B6274132}"/>
              </a:ext>
            </a:extLst>
          </p:cNvPr>
          <p:cNvSpPr txBox="1"/>
          <p:nvPr/>
        </p:nvSpPr>
        <p:spPr>
          <a:xfrm>
            <a:off x="965200" y="1212217"/>
            <a:ext cx="2745423" cy="1631216"/>
          </a:xfrm>
          <a:prstGeom prst="rect">
            <a:avLst/>
          </a:prstGeom>
          <a:noFill/>
          <a:ln w="76200">
            <a:solidFill>
              <a:srgbClr val="FF0000"/>
            </a:solidFill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 wrap="square" rtlCol="0">
            <a:spAutoFit/>
          </a:bodyPr>
          <a:lstStyle/>
          <a:p>
            <a:r>
              <a:rPr lang="en-US" sz="2000" dirty="0"/>
              <a:t>Limited Planning</a:t>
            </a:r>
          </a:p>
          <a:p>
            <a:r>
              <a:rPr lang="en-US" sz="2000" dirty="0"/>
              <a:t>No TOCs</a:t>
            </a:r>
          </a:p>
          <a:p>
            <a:r>
              <a:rPr lang="en-US" sz="2000" dirty="0"/>
              <a:t>Outputs not Defined</a:t>
            </a:r>
          </a:p>
          <a:p>
            <a:r>
              <a:rPr lang="en-US" sz="2000" dirty="0"/>
              <a:t>Limited Monitoring Data</a:t>
            </a:r>
          </a:p>
        </p:txBody>
      </p:sp>
    </p:spTree>
    <p:extLst>
      <p:ext uri="{BB962C8B-B14F-4D97-AF65-F5344CB8AC3E}">
        <p14:creationId xmlns:p14="http://schemas.microsoft.com/office/powerpoint/2010/main" val="25210238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425BF6-88AE-4E13-89F2-4E1DD61C4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300706"/>
            <a:ext cx="9270999" cy="492443"/>
          </a:xfrm>
        </p:spPr>
        <p:txBody>
          <a:bodyPr/>
          <a:lstStyle/>
          <a:p>
            <a:r>
              <a:rPr lang="en-US" sz="3200" b="1" dirty="0">
                <a:latin typeface="Century Gothic" panose="020B0502020202020204" pitchFamily="34" charset="0"/>
              </a:rPr>
              <a:t>Evidence Practice – Technical Suppor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84EF2C-6148-4BF3-8FE5-92BEE2071C63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endParaRPr lang="en-US" spc="6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6312E6-B667-4EC0-90DF-2DCCF3949B7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lang="en-US" spc="80" smtClean="0"/>
              <a:t>11</a:t>
            </a:fld>
            <a:endParaRPr lang="en-US" spc="8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909E14A-88FB-4E4F-A4C2-066ECC8CCF1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5689600" y="1676400"/>
            <a:ext cx="3644900" cy="518160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06B5342-E429-4BE6-84C3-4E82A0255F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849" y="1663931"/>
            <a:ext cx="4502150" cy="434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9921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425BF6-88AE-4E13-89F2-4E1DD61C4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300706"/>
            <a:ext cx="9270999" cy="492443"/>
          </a:xfrm>
        </p:spPr>
        <p:txBody>
          <a:bodyPr/>
          <a:lstStyle/>
          <a:p>
            <a:r>
              <a:rPr lang="en-US" sz="3200" b="1" dirty="0">
                <a:latin typeface="Century Gothic" panose="020B0502020202020204" pitchFamily="34" charset="0"/>
              </a:rPr>
              <a:t>Evidence Practice - Methodolog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2FDF87-244D-4076-87CE-327586E441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947" y="1600200"/>
            <a:ext cx="9596120" cy="4572000"/>
          </a:xfrm>
        </p:spPr>
        <p:txBody>
          <a:bodyPr/>
          <a:lstStyle/>
          <a:p>
            <a:r>
              <a:rPr lang="en-US" sz="2400" b="1" dirty="0">
                <a:latin typeface="Century Gothic" panose="020B0502020202020204" pitchFamily="34" charset="0"/>
              </a:rPr>
              <a:t> 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3200" b="1" dirty="0">
                <a:latin typeface="Century Gothic" panose="020B0502020202020204" pitchFamily="34" charset="0"/>
              </a:rPr>
              <a:t>Evidence Maps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sz="3200" b="1" dirty="0">
              <a:latin typeface="Century Gothic" panose="020B050202020202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3200" b="1" dirty="0">
                <a:latin typeface="Century Gothic" panose="020B0502020202020204" pitchFamily="34" charset="0"/>
              </a:rPr>
              <a:t>Evidence Repository 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sz="3200" b="1" dirty="0">
              <a:latin typeface="Century Gothic" panose="020B050202020202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3200" b="1" dirty="0">
                <a:latin typeface="Century Gothic" panose="020B0502020202020204" pitchFamily="34" charset="0"/>
              </a:rPr>
              <a:t>Evidence Brief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84EF2C-6148-4BF3-8FE5-92BEE2071C63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endParaRPr lang="en-US" spc="6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6312E6-B667-4EC0-90DF-2DCCF3949B7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lang="en-US" spc="80" smtClean="0"/>
              <a:t>12</a:t>
            </a:fld>
            <a:endParaRPr lang="en-US" spc="8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80C788-883C-4F65-ACF6-16607A3CD9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800" y="3374778"/>
            <a:ext cx="3189657" cy="1022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0408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BBA57-8086-427B-B93A-0021615349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Evidence Map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B8E3FF-024A-4214-9EBC-E5FBA91829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lang="en-US" spc="80" smtClean="0"/>
              <a:t>13</a:t>
            </a:fld>
            <a:endParaRPr lang="en-US" spc="8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AD4421-A41E-4EAF-BF5E-5BAE7EFE5A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endParaRPr lang="en-US" spc="6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7EAB8E2-7E19-4044-83F3-F8EF378ED2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F4498F1-AE36-40C8-83CA-5CC6C83BA2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4000" y="1329725"/>
            <a:ext cx="3556000" cy="4985639"/>
          </a:xfrm>
        </p:spPr>
        <p:txBody>
          <a:bodyPr>
            <a:normAutofit/>
          </a:bodyPr>
          <a:lstStyle/>
          <a:p>
            <a:r>
              <a:rPr lang="en-US" sz="2400" dirty="0"/>
              <a:t>Bringing all our Evidence Together</a:t>
            </a:r>
          </a:p>
          <a:p>
            <a:endParaRPr lang="en-US" sz="2400" dirty="0"/>
          </a:p>
          <a:p>
            <a:r>
              <a:rPr lang="en-US" sz="2400" dirty="0"/>
              <a:t>For Sound Evidence based Decision- Making</a:t>
            </a:r>
          </a:p>
          <a:p>
            <a:endParaRPr lang="en-US" sz="2400" dirty="0"/>
          </a:p>
          <a:p>
            <a:r>
              <a:rPr lang="en-US" sz="2400" dirty="0"/>
              <a:t>Identifying Areas that we need to evalu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5999037-033E-4915-9A77-550CE0F659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938" y="1329725"/>
            <a:ext cx="5989262" cy="557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4879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201084"/>
            <a:ext cx="9880536" cy="621396"/>
          </a:xfrm>
        </p:spPr>
        <p:txBody>
          <a:bodyPr>
            <a:noAutofit/>
          </a:bodyPr>
          <a:lstStyle/>
          <a:p>
            <a:r>
              <a:rPr lang="en-ZA" sz="3200" b="1" dirty="0">
                <a:latin typeface="Century Gothic" panose="020B0502020202020204" pitchFamily="34" charset="0"/>
              </a:rPr>
              <a:t>Evidence Repository – Strategic</a:t>
            </a:r>
            <a:r>
              <a:rPr lang="en-ZA" sz="3200" b="1" dirty="0"/>
              <a:t> </a:t>
            </a:r>
            <a:r>
              <a:rPr lang="en-ZA" sz="3200" b="1" dirty="0">
                <a:latin typeface="Century Gothic" panose="020B0502020202020204" pitchFamily="34" charset="0"/>
              </a:rPr>
              <a:t>Prioriti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ZA" dirty="0">
                <a:solidFill>
                  <a:srgbClr val="003399"/>
                </a:solidFill>
              </a:rPr>
              <a:t>17</a:t>
            </a:r>
          </a:p>
        </p:txBody>
      </p:sp>
      <p:sp>
        <p:nvSpPr>
          <p:cNvPr id="7" name="Rechteck 5"/>
          <p:cNvSpPr>
            <a:spLocks/>
          </p:cNvSpPr>
          <p:nvPr/>
        </p:nvSpPr>
        <p:spPr>
          <a:xfrm>
            <a:off x="-15196" y="1070620"/>
            <a:ext cx="10160000" cy="38988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80000" tIns="80000" rIns="80000" bIns="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222" b="1" dirty="0">
                <a:solidFill>
                  <a:prstClr val="white"/>
                </a:solidFill>
              </a:rPr>
              <a:t>Through BizBrain </a:t>
            </a:r>
            <a:endParaRPr lang="en-ZA" sz="2222" b="1" dirty="0">
              <a:solidFill>
                <a:prstClr val="white"/>
              </a:solidFill>
            </a:endParaRP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57127" y="1542562"/>
            <a:ext cx="5327673" cy="158163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80000" tIns="80000" rIns="80000" bIns="80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1" eaLnBrk="0" hangingPunct="0">
              <a:spcBef>
                <a:spcPts val="333"/>
              </a:spcBef>
              <a:buClr>
                <a:srgbClr val="707070"/>
              </a:buClr>
              <a:buSzPct val="100000"/>
              <a:buBlip>
                <a:blip r:embed="rId3"/>
              </a:buBlip>
            </a:pPr>
            <a:r>
              <a:rPr lang="en-ZA" kern="0" dirty="0">
                <a:solidFill>
                  <a:srgbClr val="000000"/>
                </a:solidFill>
                <a:ea typeface="ＭＳ Ｐゴシック" charset="0"/>
                <a:cs typeface="Arial" pitchFamily="34" charset="0"/>
              </a:rPr>
              <a:t>Vision-Inspired Priorities home in BI</a:t>
            </a:r>
          </a:p>
          <a:p>
            <a:pPr lvl="1" eaLnBrk="0" hangingPunct="0">
              <a:spcBef>
                <a:spcPts val="333"/>
              </a:spcBef>
              <a:buClr>
                <a:srgbClr val="707070"/>
              </a:buClr>
              <a:buSzPct val="100000"/>
              <a:buBlip>
                <a:blip r:embed="rId3"/>
              </a:buBlip>
            </a:pPr>
            <a:r>
              <a:rPr lang="en-ZA" kern="0" dirty="0">
                <a:solidFill>
                  <a:srgbClr val="000000"/>
                </a:solidFill>
                <a:ea typeface="ＭＳ Ｐゴシック" charset="0"/>
                <a:cs typeface="Arial" pitchFamily="34" charset="0"/>
              </a:rPr>
              <a:t>All VIP-related documents, data artefacts uploaded in BI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Strengthening the Provincial Evaluation System of the WCG</a:t>
            </a:r>
            <a:endParaRPr lang="en-GB" dirty="0">
              <a:solidFill>
                <a:srgbClr val="998F86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3C20994-5FF3-44F7-B30B-EECD55B14DEC}"/>
              </a:ext>
            </a:extLst>
          </p:cNvPr>
          <p:cNvGrpSpPr/>
          <p:nvPr/>
        </p:nvGrpSpPr>
        <p:grpSpPr>
          <a:xfrm>
            <a:off x="169334" y="2455334"/>
            <a:ext cx="8767414" cy="4187490"/>
            <a:chOff x="152400" y="2209800"/>
            <a:chExt cx="7890673" cy="3768741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5532EB65-1D60-4F32-BEBE-6DC5B87F0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2400" y="2209800"/>
              <a:ext cx="7890673" cy="3768741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5A6C3BA-4440-470C-B0C3-B5575ACEFB6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0191" y="4317510"/>
              <a:ext cx="1867209" cy="1528856"/>
            </a:xfrm>
            <a:prstGeom prst="rect">
              <a:avLst/>
            </a:prstGeom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B51F9FE0-0121-4297-9B8B-02F71B0FB9C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3005" y="1295400"/>
            <a:ext cx="5606995" cy="504822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621289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91C38-9299-49BC-9F42-E8536AAB10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Evidence Brief PTM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21E104-060E-448B-AD35-E3FC28D6EE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5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E6C808-FA74-478D-86C4-9DB11A7C65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C1606D-C37F-49B0-A9AA-5B41D411E4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9725" y="1123723"/>
            <a:ext cx="9704914" cy="6187920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endParaRPr lang="en-US" sz="2600" b="0" dirty="0"/>
          </a:p>
          <a:p>
            <a:endParaRPr lang="en-US" sz="4000" b="0" dirty="0"/>
          </a:p>
          <a:p>
            <a:endParaRPr lang="en-US" sz="4000" b="0" dirty="0"/>
          </a:p>
          <a:p>
            <a:endParaRPr lang="en-US" sz="4000" b="0" dirty="0"/>
          </a:p>
          <a:p>
            <a:pPr marL="685800" indent="-685800">
              <a:buFont typeface="Arial" panose="020B0604020202020204" pitchFamily="34" charset="0"/>
              <a:buChar char="•"/>
            </a:pPr>
            <a:endParaRPr lang="en-US" sz="4000" b="0" dirty="0"/>
          </a:p>
          <a:p>
            <a:endParaRPr lang="en-US" sz="3400" b="0" dirty="0"/>
          </a:p>
          <a:p>
            <a:endParaRPr lang="en-US" sz="2600" b="0" dirty="0"/>
          </a:p>
          <a:p>
            <a:r>
              <a:rPr lang="en-US" sz="2600" b="0" dirty="0"/>
              <a:t> </a:t>
            </a:r>
          </a:p>
          <a:p>
            <a:endParaRPr lang="en-US" b="0" dirty="0"/>
          </a:p>
          <a:p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60B193-FC05-48F7-8899-21471A0BCE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816" y="1123723"/>
            <a:ext cx="4267200" cy="61055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CC51FFB-CAC2-47E3-9B03-D30E7E1A9AAD}"/>
              </a:ext>
            </a:extLst>
          </p:cNvPr>
          <p:cNvSpPr txBox="1"/>
          <p:nvPr/>
        </p:nvSpPr>
        <p:spPr>
          <a:xfrm>
            <a:off x="5022757" y="1676400"/>
            <a:ext cx="485777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PTMS Evaluation evidence is being used to plan, implement and strengthen a more integrated delivery framework for next WCG Provincial Strategic Plan</a:t>
            </a:r>
          </a:p>
        </p:txBody>
      </p:sp>
    </p:spTree>
    <p:extLst>
      <p:ext uri="{BB962C8B-B14F-4D97-AF65-F5344CB8AC3E}">
        <p14:creationId xmlns:p14="http://schemas.microsoft.com/office/powerpoint/2010/main" val="34818599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91C38-9299-49BC-9F42-E8536AAB10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Evidence Brief RSE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21E104-060E-448B-AD35-E3FC28D6EE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6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E6C808-FA74-478D-86C4-9DB11A7C65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C1606D-C37F-49B0-A9AA-5B41D411E4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9725" y="1123723"/>
            <a:ext cx="9704914" cy="6187920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endParaRPr lang="en-US" sz="2600" b="0" dirty="0"/>
          </a:p>
          <a:p>
            <a:endParaRPr lang="en-US" sz="4000" b="0" dirty="0"/>
          </a:p>
          <a:p>
            <a:endParaRPr lang="en-US" sz="4000" b="0" dirty="0"/>
          </a:p>
          <a:p>
            <a:endParaRPr lang="en-US" sz="4000" b="0" dirty="0"/>
          </a:p>
          <a:p>
            <a:pPr marL="685800" indent="-685800">
              <a:buFont typeface="Arial" panose="020B0604020202020204" pitchFamily="34" charset="0"/>
              <a:buChar char="•"/>
            </a:pPr>
            <a:endParaRPr lang="en-US" sz="4000" b="0" dirty="0"/>
          </a:p>
          <a:p>
            <a:endParaRPr lang="en-US" sz="3400" b="0" dirty="0"/>
          </a:p>
          <a:p>
            <a:endParaRPr lang="en-US" sz="2600" b="0" dirty="0"/>
          </a:p>
          <a:p>
            <a:r>
              <a:rPr lang="en-US" sz="2600" b="0" dirty="0"/>
              <a:t> </a:t>
            </a:r>
          </a:p>
          <a:p>
            <a:endParaRPr lang="en-US" b="0" dirty="0"/>
          </a:p>
          <a:p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C51FFB-CAC2-47E3-9B03-D30E7E1A9AAD}"/>
              </a:ext>
            </a:extLst>
          </p:cNvPr>
          <p:cNvSpPr txBox="1"/>
          <p:nvPr/>
        </p:nvSpPr>
        <p:spPr>
          <a:xfrm>
            <a:off x="5022757" y="1676400"/>
            <a:ext cx="485777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The RSEP Evaluation evidence is being used to improve the effectiveness of stakeholder engagement and strengthen collaborative community initiatives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E52A9DF-D8D9-4AC5-BBF3-DF215CE497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621" y="1055784"/>
            <a:ext cx="4170695" cy="565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2511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24E3BA-2036-4A08-AE65-C8B40FED09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Evidence Brief WCCC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B3D6305-E265-4818-843D-F62877C5A5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64817C-B762-4629-95B9-5A0F565F05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E4B258-7686-4483-BA4A-28EBB1163D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sz="1800" b="0" dirty="0"/>
          </a:p>
          <a:p>
            <a:endParaRPr lang="en-US" sz="1800" b="0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701CE43-0CF9-4F1E-AF3D-27658C8E26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086" y="1010513"/>
            <a:ext cx="4164229" cy="57592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82D304E-2407-4D48-8E8B-ADE8B76D6320}"/>
              </a:ext>
            </a:extLst>
          </p:cNvPr>
          <p:cNvSpPr txBox="1"/>
          <p:nvPr/>
        </p:nvSpPr>
        <p:spPr>
          <a:xfrm>
            <a:off x="5156200" y="1375760"/>
            <a:ext cx="472433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sz="2400" dirty="0"/>
              <a:t>The Western Cape Climate Change Strategy evaluation was used to review the strategy, increase awareness and making it a Provincial  priority for the next 5 years.</a:t>
            </a:r>
          </a:p>
        </p:txBody>
      </p:sp>
    </p:spTree>
    <p:extLst>
      <p:ext uri="{BB962C8B-B14F-4D97-AF65-F5344CB8AC3E}">
        <p14:creationId xmlns:p14="http://schemas.microsoft.com/office/powerpoint/2010/main" val="31449987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E712CF-978D-4894-8CD4-75194C7B5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Evidence Brief BRI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DC7CA2-1FD2-4089-A956-5A1D7C8B31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7DF256-8A7D-45F5-98A5-DB31E27F65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38D12E-E85F-45CF-9D01-F2656D1B97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486" y="1072256"/>
            <a:ext cx="4271830" cy="5697553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9291B2-BBC5-43C1-A911-39D27E3EBB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68DB15-37D8-4BA4-B8AB-E5D35DBC5EEE}"/>
              </a:ext>
            </a:extLst>
          </p:cNvPr>
          <p:cNvSpPr txBox="1"/>
          <p:nvPr/>
        </p:nvSpPr>
        <p:spPr>
          <a:xfrm>
            <a:off x="5125294" y="1676400"/>
            <a:ext cx="503470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The Berg River Improvement Plan evaluation recommended areas for further improvement in the water monitoring task for sustainable water quality</a:t>
            </a:r>
          </a:p>
        </p:txBody>
      </p:sp>
    </p:spTree>
    <p:extLst>
      <p:ext uri="{BB962C8B-B14F-4D97-AF65-F5344CB8AC3E}">
        <p14:creationId xmlns:p14="http://schemas.microsoft.com/office/powerpoint/2010/main" val="20946738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B2EA8DA-1552-4ED8-8031-72751C17D2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Key Implementing Issues and Way forwar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00927D-B35A-480D-BAF1-89DF6B7C004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588500" y="7186613"/>
            <a:ext cx="571500" cy="257175"/>
          </a:xfrm>
        </p:spPr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9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3205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081229D-D646-4200-A998-78EA7D628B7A}"/>
              </a:ext>
            </a:extLst>
          </p:cNvPr>
          <p:cNvSpPr/>
          <p:nvPr/>
        </p:nvSpPr>
        <p:spPr>
          <a:xfrm>
            <a:off x="1" y="1089698"/>
            <a:ext cx="10151483" cy="65303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15990">
              <a:defRPr/>
            </a:pPr>
            <a:endParaRPr lang="en-ZA" sz="1333" kern="0" dirty="0">
              <a:solidFill>
                <a:sysClr val="windowText" lastClr="000000"/>
              </a:solidFill>
              <a:latin typeface="Century Gothic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3889" y="334119"/>
            <a:ext cx="9682198" cy="492443"/>
          </a:xfrm>
        </p:spPr>
        <p:txBody>
          <a:bodyPr/>
          <a:lstStyle/>
          <a:p>
            <a:r>
              <a:rPr lang="en-ZA" sz="3200" b="1" dirty="0">
                <a:latin typeface="Century Gothic" panose="020B0502020202020204" pitchFamily="34" charset="0"/>
              </a:rPr>
              <a:t>The Western Cape Evaluations Driv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 vert="horz" lIns="80000" tIns="80000" rIns="0" bIns="0" rtlCol="0" anchor="ctr"/>
          <a:lstStyle/>
          <a:p>
            <a:pPr algn="r" defTabSz="1015990">
              <a:defRPr/>
            </a:pPr>
            <a:fld id="{8406839F-D7A4-4E5D-B93D-768AD4D1DB36}" type="slidenum">
              <a:rPr lang="en-ZA" sz="1000">
                <a:solidFill>
                  <a:srgbClr val="003399"/>
                </a:solidFill>
                <a:latin typeface="Century Gothic" pitchFamily="34" charset="0"/>
              </a:rPr>
              <a:pPr algn="r" defTabSz="1015990">
                <a:defRPr/>
              </a:pPr>
              <a:t>2</a:t>
            </a:fld>
            <a:endParaRPr lang="en-ZA" sz="1000" dirty="0">
              <a:solidFill>
                <a:srgbClr val="003399"/>
              </a:solidFill>
              <a:latin typeface="Century Gothic" pitchFamily="34" charset="0"/>
            </a:endParaRP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7" y="1145925"/>
            <a:ext cx="5780578" cy="558982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63" name="Oval 62"/>
          <p:cNvSpPr/>
          <p:nvPr/>
        </p:nvSpPr>
        <p:spPr>
          <a:xfrm>
            <a:off x="1310448" y="2154366"/>
            <a:ext cx="1597743" cy="1123034"/>
          </a:xfrm>
          <a:prstGeom prst="ellipse">
            <a:avLst/>
          </a:prstGeom>
          <a:solidFill>
            <a:srgbClr val="4580B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0" tIns="0" rIns="0" bIns="0" rtlCol="0">
            <a:noAutofit/>
          </a:bodyPr>
          <a:lstStyle/>
          <a:p>
            <a:pPr algn="ctr" defTabSz="761992">
              <a:lnSpc>
                <a:spcPct val="150000"/>
              </a:lnSpc>
              <a:spcBef>
                <a:spcPts val="250"/>
              </a:spcBef>
              <a:defRPr/>
            </a:pPr>
            <a:r>
              <a:rPr lang="en-US" sz="1778" b="1" kern="0" dirty="0">
                <a:solidFill>
                  <a:prstClr val="white"/>
                </a:solidFill>
                <a:latin typeface="Century Gothic" pitchFamily="34" charset="0"/>
              </a:rPr>
              <a:t>6,5 M </a:t>
            </a:r>
          </a:p>
          <a:p>
            <a:pPr algn="ctr" defTabSz="761992">
              <a:lnSpc>
                <a:spcPct val="150000"/>
              </a:lnSpc>
              <a:spcBef>
                <a:spcPts val="250"/>
              </a:spcBef>
              <a:defRPr/>
            </a:pPr>
            <a:r>
              <a:rPr lang="en-US" sz="1778" b="1" kern="0" dirty="0">
                <a:solidFill>
                  <a:prstClr val="white"/>
                </a:solidFill>
                <a:latin typeface="Century Gothic" pitchFamily="34" charset="0"/>
              </a:rPr>
              <a:t>peop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D17B155-B166-42A4-A075-486371A31C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935" r="19867" b="37737"/>
          <a:stretch/>
        </p:blipFill>
        <p:spPr>
          <a:xfrm>
            <a:off x="6020256" y="1600200"/>
            <a:ext cx="4155831" cy="4150803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1015990">
              <a:defRPr/>
            </a:pPr>
            <a:endParaRPr lang="en-GB" sz="889" dirty="0">
              <a:solidFill>
                <a:srgbClr val="998F86"/>
              </a:solidFill>
              <a:latin typeface="Century Gothic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E4ABCBA-F8C8-4058-B3AE-8808969BA8FC}"/>
              </a:ext>
            </a:extLst>
          </p:cNvPr>
          <p:cNvSpPr/>
          <p:nvPr/>
        </p:nvSpPr>
        <p:spPr>
          <a:xfrm>
            <a:off x="5821268" y="7023083"/>
            <a:ext cx="4346302" cy="596917"/>
          </a:xfrm>
          <a:prstGeom prst="rect">
            <a:avLst/>
          </a:prstGeom>
          <a:solidFill>
            <a:srgbClr val="4580B1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91"/>
            <a:r>
              <a:rPr lang="en-ZA" sz="1778" b="1" kern="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</a:rPr>
              <a:t>13 Departments in Western Cape Government                       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21A2E21-3338-4335-ACD6-0F681B682D65}"/>
              </a:ext>
            </a:extLst>
          </p:cNvPr>
          <p:cNvSpPr/>
          <p:nvPr/>
        </p:nvSpPr>
        <p:spPr>
          <a:xfrm>
            <a:off x="16087" y="1113897"/>
            <a:ext cx="10160000" cy="6530302"/>
          </a:xfrm>
          <a:prstGeom prst="rect">
            <a:avLst/>
          </a:prstGeom>
          <a:noFill/>
          <a:ln>
            <a:solidFill>
              <a:srgbClr val="4580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33" dirty="0"/>
          </a:p>
        </p:txBody>
      </p:sp>
      <p:pic>
        <p:nvPicPr>
          <p:cNvPr id="11" name="Picture 115" descr="C:\Users\Conny\Desktop\WCG\WCG - Logo\PNG\Logos blue\Department of the Premier\WCG - Logo - Department of the Premier - Blue.png">
            <a:extLst>
              <a:ext uri="{FF2B5EF4-FFF2-40B4-BE49-F238E27FC236}">
                <a16:creationId xmlns:a16="http://schemas.microsoft.com/office/drawing/2014/main" id="{079E74DF-5A01-4785-92B5-C06C084230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54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11443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91C38-9299-49BC-9F42-E8536AAB1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42" y="228600"/>
            <a:ext cx="9846692" cy="621396"/>
          </a:xfrm>
        </p:spPr>
        <p:txBody>
          <a:bodyPr/>
          <a:lstStyle/>
          <a:p>
            <a:r>
              <a:rPr lang="en-US" sz="3200" dirty="0"/>
              <a:t>Key Implementing Issues -Data and Evidence U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21E104-060E-448B-AD35-E3FC28D6EE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0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E6C808-FA74-478D-86C4-9DB11A7C65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C1606D-C37F-49B0-A9AA-5B41D411E4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5086" y="1160404"/>
            <a:ext cx="9704914" cy="6187920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Ensure the </a:t>
            </a:r>
            <a:r>
              <a:rPr lang="en-US" sz="2400" dirty="0" err="1"/>
              <a:t>Utilisation</a:t>
            </a:r>
            <a:r>
              <a:rPr lang="en-US" sz="2400" dirty="0"/>
              <a:t> of Evaluation Evidence</a:t>
            </a:r>
          </a:p>
          <a:p>
            <a:endParaRPr lang="en-US" sz="2400" dirty="0"/>
          </a:p>
          <a:p>
            <a:r>
              <a:rPr lang="en-GB" sz="2400" dirty="0"/>
              <a:t>Improved understanding of and access to evaluation evidence</a:t>
            </a:r>
            <a:endParaRPr lang="en-GB" sz="2400" b="0" dirty="0"/>
          </a:p>
          <a:p>
            <a:endParaRPr lang="en-US" sz="2400" b="0" dirty="0"/>
          </a:p>
          <a:p>
            <a:r>
              <a:rPr lang="en-US" sz="2400" dirty="0"/>
              <a:t>Fulfilling the Data Demand: </a:t>
            </a:r>
            <a:r>
              <a:rPr lang="en-US" sz="2400" b="0" dirty="0"/>
              <a:t>Baseline monitoring data at a </a:t>
            </a:r>
            <a:r>
              <a:rPr lang="en-US" sz="2400" b="0" dirty="0" err="1"/>
              <a:t>programme</a:t>
            </a:r>
            <a:r>
              <a:rPr lang="en-US" sz="2400" b="0" dirty="0"/>
              <a:t> level is extremely limited </a:t>
            </a:r>
          </a:p>
          <a:p>
            <a:endParaRPr lang="en-US" sz="2400" b="0" dirty="0"/>
          </a:p>
          <a:p>
            <a:r>
              <a:rPr lang="en-US" sz="2400" dirty="0"/>
              <a:t>The Importance of </a:t>
            </a:r>
            <a:r>
              <a:rPr lang="en-US" sz="2400" dirty="0" err="1"/>
              <a:t>ToC</a:t>
            </a:r>
            <a:r>
              <a:rPr lang="en-US" sz="2400" dirty="0"/>
              <a:t> </a:t>
            </a:r>
            <a:r>
              <a:rPr lang="en-US" sz="2400" b="0" dirty="0"/>
              <a:t>- critical for monitoring progress and performance, </a:t>
            </a:r>
          </a:p>
          <a:p>
            <a:endParaRPr lang="en-US" sz="2400" b="0" dirty="0"/>
          </a:p>
          <a:p>
            <a:r>
              <a:rPr lang="en-US" sz="2400" dirty="0"/>
              <a:t>Building An Sustainable Cultu</a:t>
            </a:r>
            <a:r>
              <a:rPr lang="en-US" sz="2400" b="0" dirty="0"/>
              <a:t>r</a:t>
            </a:r>
            <a:r>
              <a:rPr lang="en-US" sz="2400" dirty="0"/>
              <a:t>e</a:t>
            </a:r>
            <a:endParaRPr lang="en-US" sz="2400" b="0" dirty="0"/>
          </a:p>
          <a:p>
            <a:r>
              <a:rPr lang="en-US" sz="2400" dirty="0"/>
              <a:t>of Evidence Use</a:t>
            </a:r>
          </a:p>
          <a:p>
            <a:endParaRPr lang="en-US" sz="2200" b="0" dirty="0"/>
          </a:p>
          <a:p>
            <a:endParaRPr lang="en-US" sz="3400" b="0" dirty="0"/>
          </a:p>
          <a:p>
            <a:endParaRPr lang="en-US" sz="2600" b="0" dirty="0"/>
          </a:p>
          <a:p>
            <a:r>
              <a:rPr lang="en-US" sz="2600" b="0" dirty="0"/>
              <a:t> </a:t>
            </a:r>
          </a:p>
          <a:p>
            <a:endParaRPr lang="en-US" b="0" dirty="0"/>
          </a:p>
          <a:p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65884B-6295-4CFC-8811-B76038F895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2959" y="4572000"/>
            <a:ext cx="3657575" cy="2088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4157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91C38-9299-49BC-9F42-E8536AAB1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086" y="201084"/>
            <a:ext cx="9831914" cy="621396"/>
          </a:xfrm>
        </p:spPr>
        <p:txBody>
          <a:bodyPr/>
          <a:lstStyle/>
          <a:p>
            <a:r>
              <a:rPr lang="en-US" sz="3200" dirty="0"/>
              <a:t>Key Implementing Issues-  Ensure Useful Evide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21E104-060E-448B-AD35-E3FC28D6EE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1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E6C808-FA74-478D-86C4-9DB11A7C65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C1606D-C37F-49B0-A9AA-5B41D411E4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8086" y="1066800"/>
            <a:ext cx="9552450" cy="5703009"/>
          </a:xfrm>
        </p:spPr>
        <p:txBody>
          <a:bodyPr>
            <a:normAutofit/>
          </a:bodyPr>
          <a:lstStyle/>
          <a:p>
            <a:endParaRPr lang="en-GB" dirty="0"/>
          </a:p>
          <a:p>
            <a:r>
              <a:rPr lang="en-GB" sz="2400" dirty="0"/>
              <a:t>Funding the evaluations in the Plan</a:t>
            </a:r>
          </a:p>
          <a:p>
            <a:endParaRPr lang="en-GB" sz="2400" b="0" dirty="0"/>
          </a:p>
          <a:p>
            <a:r>
              <a:rPr lang="en-GB" sz="2400" dirty="0"/>
              <a:t>Linking evaluations to Strategic Planning/VIPs</a:t>
            </a:r>
          </a:p>
          <a:p>
            <a:endParaRPr lang="en-GB" sz="2400" b="0" dirty="0"/>
          </a:p>
          <a:p>
            <a:r>
              <a:rPr lang="en-US" sz="2400" dirty="0"/>
              <a:t>Communication and stakeholder engagement to ensure by in and maximum benefit – Buy in.</a:t>
            </a:r>
            <a:endParaRPr lang="en-US" sz="2400" b="0" dirty="0"/>
          </a:p>
          <a:p>
            <a:pPr marL="685800" indent="-685800">
              <a:buFont typeface="Wingdings" panose="05000000000000000000" pitchFamily="2" charset="2"/>
              <a:buChar char="ü"/>
            </a:pPr>
            <a:endParaRPr lang="en-US" sz="1800" b="0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GB" b="0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pic>
        <p:nvPicPr>
          <p:cNvPr id="6" name="Picture 2" descr="Image result for Images for Funding of Evaluation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6218" y="4089605"/>
            <a:ext cx="4504316" cy="2680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23131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91C38-9299-49BC-9F42-E8536AAB1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086" y="201084"/>
            <a:ext cx="10466914" cy="621396"/>
          </a:xfrm>
        </p:spPr>
        <p:txBody>
          <a:bodyPr/>
          <a:lstStyle/>
          <a:p>
            <a:r>
              <a:rPr lang="en-US" sz="2800" dirty="0"/>
              <a:t>Way Forward-</a:t>
            </a:r>
            <a:r>
              <a:rPr lang="en-GB" sz="2800" dirty="0"/>
              <a:t>Driving the Data and Evidence agenda</a:t>
            </a:r>
            <a:endParaRPr lang="en-US" sz="28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21E104-060E-448B-AD35-E3FC28D6EE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2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E6C808-FA74-478D-86C4-9DB11A7C65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C1606D-C37F-49B0-A9AA-5B41D411E4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679" y="1066800"/>
            <a:ext cx="6429843" cy="5657897"/>
          </a:xfrm>
        </p:spPr>
        <p:txBody>
          <a:bodyPr>
            <a:normAutofit fontScale="92500" lnSpcReduction="10000"/>
          </a:bodyPr>
          <a:lstStyle/>
          <a:p>
            <a:endParaRPr lang="en-US" sz="2100" b="0" dirty="0"/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GB" sz="2100" b="0" dirty="0"/>
              <a:t>Strengthening the use of evaluation findings through </a:t>
            </a:r>
            <a:r>
              <a:rPr lang="en-GB" sz="2100" dirty="0"/>
              <a:t>communication and advocacy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n-GB" sz="2100" b="0" dirty="0"/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GB" sz="2100" b="0" dirty="0"/>
              <a:t>Improved understanding and access to evaluation evidence and its use</a:t>
            </a:r>
          </a:p>
          <a:p>
            <a:endParaRPr lang="en-GB" sz="2100" b="0" dirty="0"/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ZA" sz="2100" b="0" dirty="0"/>
              <a:t>Explore </a:t>
            </a:r>
            <a:r>
              <a:rPr lang="en-ZA" sz="2100" dirty="0"/>
              <a:t>Rapid reviews </a:t>
            </a:r>
            <a:r>
              <a:rPr lang="en-ZA" sz="2100" b="0" dirty="0"/>
              <a:t>to increase turnaround time of evaluation findings. </a:t>
            </a:r>
          </a:p>
          <a:p>
            <a:endParaRPr lang="en-GB" sz="2100" b="0" dirty="0"/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ZA" sz="2100" dirty="0"/>
              <a:t>Evidence briefs </a:t>
            </a:r>
            <a:r>
              <a:rPr lang="en-ZA" sz="2100" b="0" dirty="0"/>
              <a:t>that share key findings on evaluations conducted for further learning and improvement of priorities. 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n-ZA" sz="2100" b="0" dirty="0"/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ZA" sz="2100" b="0" dirty="0"/>
              <a:t>Evaluation and research </a:t>
            </a:r>
            <a:r>
              <a:rPr lang="en-ZA" sz="2100" dirty="0"/>
              <a:t>evidence maps and repository </a:t>
            </a:r>
            <a:r>
              <a:rPr lang="en-ZA" sz="2100" b="0" dirty="0"/>
              <a:t>for each strategic priority to inform the evidence gap, where relevant. </a:t>
            </a:r>
          </a:p>
          <a:p>
            <a:endParaRPr lang="en-ZA" sz="2100" b="0" dirty="0"/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400" dirty="0"/>
              <a:t>Better Data leading Impact evaluations 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n-ZA" sz="2100" b="0" dirty="0"/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n-ZA" dirty="0"/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n-ZA" sz="2100" b="0" dirty="0"/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n-US" sz="2100" b="0" dirty="0"/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n-US" sz="2400" b="0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A06F4D-604F-43C9-B772-97535BE23B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522" y="2169020"/>
            <a:ext cx="3200400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0610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6350" y="0"/>
            <a:ext cx="10160000" cy="7783911"/>
          </a:xfrm>
          <a:custGeom>
            <a:avLst/>
            <a:gdLst/>
            <a:ahLst/>
            <a:cxnLst/>
            <a:rect l="l" t="t" r="r" b="b"/>
            <a:pathLst>
              <a:path w="10160000" h="7620000">
                <a:moveTo>
                  <a:pt x="0" y="7619999"/>
                </a:moveTo>
                <a:lnTo>
                  <a:pt x="10159989" y="7619999"/>
                </a:lnTo>
                <a:lnTo>
                  <a:pt x="10159989" y="0"/>
                </a:lnTo>
                <a:lnTo>
                  <a:pt x="0" y="0"/>
                </a:lnTo>
                <a:lnTo>
                  <a:pt x="0" y="7619999"/>
                </a:lnTo>
                <a:close/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57200" y="6713183"/>
            <a:ext cx="1448753" cy="44961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951820" y="6158998"/>
            <a:ext cx="9208770" cy="74295"/>
          </a:xfrm>
          <a:custGeom>
            <a:avLst/>
            <a:gdLst/>
            <a:ahLst/>
            <a:cxnLst/>
            <a:rect l="l" t="t" r="r" b="b"/>
            <a:pathLst>
              <a:path w="9208770" h="74295">
                <a:moveTo>
                  <a:pt x="9208179" y="0"/>
                </a:moveTo>
                <a:lnTo>
                  <a:pt x="0" y="73911"/>
                </a:lnTo>
                <a:lnTo>
                  <a:pt x="9208179" y="73911"/>
                </a:lnTo>
                <a:lnTo>
                  <a:pt x="9208179" y="0"/>
                </a:lnTo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801295" y="648309"/>
            <a:ext cx="4039235" cy="7353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6705"/>
              </a:lnSpc>
            </a:pPr>
            <a:r>
              <a:rPr sz="3200" spc="49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Contac</a:t>
            </a:r>
            <a:r>
              <a:rPr sz="3200" spc="21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t</a:t>
            </a:r>
            <a:r>
              <a:rPr sz="3200" spc="445" dirty="0">
                <a:solidFill>
                  <a:srgbClr val="FFFFFF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r>
              <a:rPr sz="3200" spc="14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Us</a:t>
            </a:r>
            <a:endParaRPr sz="3200" dirty="0"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01295" y="2496583"/>
            <a:ext cx="9039225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en-US" sz="3200" b="1" spc="715" dirty="0">
                <a:solidFill>
                  <a:srgbClr val="FFFFFF"/>
                </a:solidFill>
                <a:latin typeface="Century Gothic" panose="020B0502020202020204" pitchFamily="34" charset="0"/>
                <a:cs typeface="Times New Roman"/>
              </a:rPr>
              <a:t>Victoria Tully</a:t>
            </a:r>
          </a:p>
          <a:p>
            <a:pPr marL="12700"/>
            <a:r>
              <a:rPr lang="en-US" sz="3200" b="1" spc="715" dirty="0">
                <a:solidFill>
                  <a:srgbClr val="FFFFFF"/>
                </a:solidFill>
                <a:latin typeface="Century Gothic" panose="020B0502020202020204" pitchFamily="34" charset="0"/>
                <a:cs typeface="Times New Roman"/>
              </a:rPr>
              <a:t>Senior Monitoring &amp; Evaluation Officer</a:t>
            </a:r>
            <a:endParaRPr sz="3200" b="1" dirty="0">
              <a:latin typeface="Century Gothic" panose="020B0502020202020204" pitchFamily="34" charset="0"/>
              <a:cs typeface="Times New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01295" y="4528167"/>
            <a:ext cx="4454525" cy="12618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en-US" b="1" spc="10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hlinkClick r:id="rId4"/>
              </a:rPr>
              <a:t>Victoria.Tully</a:t>
            </a:r>
            <a:r>
              <a:rPr b="1" spc="10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hlinkClick r:id="rId4"/>
              </a:rPr>
              <a:t>@westerncape.gov.za</a:t>
            </a:r>
            <a:r>
              <a:rPr b="1" spc="60" dirty="0">
                <a:solidFill>
                  <a:schemeClr val="bg1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r>
              <a:rPr b="1" spc="5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Tel</a:t>
            </a:r>
            <a:r>
              <a:rPr b="1" spc="15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:</a:t>
            </a:r>
            <a:r>
              <a:rPr b="1" spc="150" dirty="0">
                <a:solidFill>
                  <a:schemeClr val="bg1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r>
              <a:rPr b="1" spc="10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+2</a:t>
            </a:r>
            <a:r>
              <a:rPr b="1" spc="7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7</a:t>
            </a:r>
            <a:r>
              <a:rPr b="1" spc="150" dirty="0">
                <a:solidFill>
                  <a:schemeClr val="bg1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r>
              <a:rPr b="1" spc="75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(0)2</a:t>
            </a:r>
            <a:r>
              <a:rPr b="1" spc="6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1</a:t>
            </a:r>
            <a:r>
              <a:rPr b="1" spc="150" dirty="0">
                <a:solidFill>
                  <a:schemeClr val="bg1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r>
              <a:rPr b="1" spc="17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48</a:t>
            </a:r>
            <a:r>
              <a:rPr b="1" spc="145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3</a:t>
            </a:r>
            <a:r>
              <a:rPr b="1" spc="150" dirty="0">
                <a:solidFill>
                  <a:schemeClr val="bg1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r>
              <a:rPr lang="en-US" b="1" spc="18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9851</a:t>
            </a:r>
            <a:endParaRPr b="1" dirty="0">
              <a:solidFill>
                <a:schemeClr val="bg1"/>
              </a:solidFill>
              <a:latin typeface="Century Gothic" panose="020B0502020202020204" pitchFamily="34" charset="0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b="1" spc="65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Fax</a:t>
            </a:r>
            <a:r>
              <a:rPr b="1" spc="2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:</a:t>
            </a:r>
            <a:r>
              <a:rPr b="1" spc="150" dirty="0">
                <a:solidFill>
                  <a:schemeClr val="bg1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r>
              <a:rPr b="1" spc="10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+2</a:t>
            </a:r>
            <a:r>
              <a:rPr b="1" spc="7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7</a:t>
            </a:r>
            <a:r>
              <a:rPr b="1" spc="150" dirty="0">
                <a:solidFill>
                  <a:schemeClr val="bg1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r>
              <a:rPr b="1" spc="75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(0)2</a:t>
            </a:r>
            <a:r>
              <a:rPr b="1" spc="6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1</a:t>
            </a:r>
            <a:r>
              <a:rPr b="1" spc="150" dirty="0">
                <a:solidFill>
                  <a:schemeClr val="bg1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r>
              <a:rPr b="1" spc="17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48</a:t>
            </a:r>
            <a:r>
              <a:rPr b="1" spc="145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3</a:t>
            </a:r>
            <a:r>
              <a:rPr b="1" spc="150" dirty="0">
                <a:solidFill>
                  <a:schemeClr val="bg1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r>
              <a:rPr b="1" spc="16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</a:rPr>
              <a:t>5447</a:t>
            </a:r>
            <a:endParaRPr b="1" dirty="0">
              <a:solidFill>
                <a:schemeClr val="bg1"/>
              </a:solidFill>
              <a:latin typeface="Century Gothic" panose="020B0502020202020204" pitchFamily="34" charset="0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175"/>
              </a:spcBef>
            </a:pPr>
            <a:r>
              <a:rPr b="1" spc="13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hlinkClick r:id="rId5"/>
              </a:rPr>
              <a:t>www.westerncape.gov.za</a:t>
            </a:r>
            <a:endParaRPr b="1" dirty="0">
              <a:solidFill>
                <a:schemeClr val="bg1"/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</a:pPr>
            <a:endParaRPr lang="en-ZA" spc="80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endParaRPr lang="en-US" spc="6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4522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693E2C-3782-4903-91A2-A978599EE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300706"/>
            <a:ext cx="9270999" cy="492443"/>
          </a:xfrm>
        </p:spPr>
        <p:txBody>
          <a:bodyPr/>
          <a:lstStyle/>
          <a:p>
            <a:r>
              <a:rPr lang="en-US" sz="3200" b="1" dirty="0">
                <a:latin typeface="Century Gothic" panose="020B0502020202020204" pitchFamily="34" charset="0"/>
              </a:rPr>
              <a:t>Come and Visit us in Cape Town South Afric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26C242-0EA2-4979-B737-5E26DC281F8F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endParaRPr lang="en-US" spc="6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DD1B8C-10BD-4796-9724-8EBFC5D2518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lang="en-US" spc="80" smtClean="0"/>
              <a:t>24</a:t>
            </a:fld>
            <a:endParaRPr lang="en-US" spc="8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BA4622-C48F-4B1C-A1A4-26B3B6F2DA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204" y="1791931"/>
            <a:ext cx="9563946" cy="5295909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>
            <a:extLst>
              <a:ext uri="{FF2B5EF4-FFF2-40B4-BE49-F238E27FC236}">
                <a16:creationId xmlns:a16="http://schemas.microsoft.com/office/drawing/2014/main" id="{E58FD1B2-8100-4576-B14B-54665319F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2866" y="1958511"/>
            <a:ext cx="1341772" cy="556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34031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451" y="1"/>
            <a:ext cx="10040550" cy="775025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A22A99-FE98-4CED-AF6F-A12DC2B818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4525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803400" y="3048000"/>
            <a:ext cx="6906259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-1270" algn="ctr"/>
            <a:r>
              <a:rPr lang="en-ZA" sz="3200" b="1" spc="29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Overview</a:t>
            </a:r>
            <a:r>
              <a:rPr lang="en-ZA" sz="3200" spc="295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 of the Province-wide E</a:t>
            </a:r>
            <a:r>
              <a:rPr sz="3200" spc="35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valuatio</a:t>
            </a:r>
            <a:r>
              <a:rPr sz="3200" spc="34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n</a:t>
            </a:r>
            <a:r>
              <a:rPr sz="3200" spc="445" dirty="0">
                <a:solidFill>
                  <a:srgbClr val="FFFFFF"/>
                </a:solidFill>
                <a:latin typeface="Century Gothic" panose="020B0502020202020204" pitchFamily="34" charset="0"/>
                <a:cs typeface="Times New Roman"/>
              </a:rPr>
              <a:t> </a:t>
            </a:r>
            <a:r>
              <a:rPr lang="en-ZA" sz="3200" spc="445" dirty="0">
                <a:solidFill>
                  <a:srgbClr val="FFFFFF"/>
                </a:solidFill>
                <a:latin typeface="Century Gothic" panose="020B0502020202020204" pitchFamily="34" charset="0"/>
                <a:cs typeface="Times New Roman"/>
              </a:rPr>
              <a:t>System</a:t>
            </a:r>
            <a:endParaRPr sz="3200" dirty="0">
              <a:solidFill>
                <a:prstClr val="black"/>
              </a:solidFill>
              <a:latin typeface="Century Gothic" panose="020B0502020202020204" pitchFamily="34" charset="0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lang="en-ZA" spc="80" smtClean="0"/>
              <a:t>4</a:t>
            </a:fld>
            <a:endParaRPr lang="en-ZA" spc="8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endParaRPr lang="en-US" spc="6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202C14-E0B0-4960-84BD-AA001F71BE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8104"/>
            <a:ext cx="10160001" cy="7618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9382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651" y="289610"/>
            <a:ext cx="9552450" cy="492443"/>
          </a:xfrm>
        </p:spPr>
        <p:txBody>
          <a:bodyPr/>
          <a:lstStyle/>
          <a:p>
            <a:r>
              <a:rPr lang="en-ZA" sz="3200" b="1" dirty="0">
                <a:latin typeface="Century Gothic" panose="020B0502020202020204" pitchFamily="34" charset="0"/>
              </a:rPr>
              <a:t>National Evaluation System</a:t>
            </a:r>
          </a:p>
        </p:txBody>
      </p:sp>
      <p:pic>
        <p:nvPicPr>
          <p:cNvPr id="5734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794450"/>
            <a:ext cx="5292649" cy="3253677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glow rad="139700">
              <a:schemeClr val="accent1">
                <a:satMod val="175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" name="Picture 115" descr="C:\Users\Conny\Desktop\WCG\WCG - Logo\PNG\Logos blue\Department of the Premier\WCG - Logo - Department of the Premier - Blue.png">
            <a:extLst>
              <a:ext uri="{FF2B5EF4-FFF2-40B4-BE49-F238E27FC236}">
                <a16:creationId xmlns:a16="http://schemas.microsoft.com/office/drawing/2014/main" id="{56F3CDA7-BA0F-4E70-B9D0-9ADB6763B9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54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586" y="1219200"/>
            <a:ext cx="5755500" cy="32923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C8C7798-5402-4E73-907F-C8F47D7D1C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04001" y="1676400"/>
            <a:ext cx="2990756" cy="140599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A0A2E4-46BF-46E1-9E4B-62F2D2DFD2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8161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584201" y="1409733"/>
            <a:ext cx="499842" cy="493643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80000" tIns="80000" rIns="80000" bIns="80000" numCol="1" anchor="t" anchorCtr="0" compatLnSpc="1">
            <a:prstTxWarp prst="textNoShape">
              <a:avLst/>
            </a:prstTxWarp>
          </a:bodyPr>
          <a:lstStyle>
            <a:lvl1pPr marL="0" indent="0" algn="l" rtl="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2pPr>
            <a:lvl3pPr marL="360000" indent="-180000" algn="l" rtl="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2860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7432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2004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657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ts val="333"/>
              </a:spcBef>
            </a:pPr>
            <a:endParaRPr lang="de-DE" sz="1556" b="1" dirty="0">
              <a:solidFill>
                <a:prstClr val="white"/>
              </a:solidFill>
            </a:endParaRPr>
          </a:p>
        </p:txBody>
      </p:sp>
      <p:sp>
        <p:nvSpPr>
          <p:cNvPr id="26" name="RectanN4MlL0SGNXEyUx1N2W3YRHg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67082" y="4040895"/>
            <a:ext cx="1662511" cy="1121396"/>
          </a:xfrm>
          <a:prstGeom prst="roundRect">
            <a:avLst>
              <a:gd name="adj" fmla="val 4374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80000" tIns="80000" rIns="80000" bIns="80000" anchor="ctr"/>
          <a:lstStyle/>
          <a:p>
            <a:pPr>
              <a:spcBef>
                <a:spcPts val="333"/>
              </a:spcBef>
              <a:buSzPct val="115000"/>
            </a:pPr>
            <a:r>
              <a:rPr lang="en-US" sz="1556" b="1" dirty="0">
                <a:solidFill>
                  <a:prstClr val="white"/>
                </a:solidFill>
              </a:rPr>
              <a:t>Header</a:t>
            </a:r>
          </a:p>
        </p:txBody>
      </p:sp>
      <p:sp>
        <p:nvSpPr>
          <p:cNvPr id="27" name="RectanN4MlL0SGNXEyUx1N2W3YRHg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7082" y="5291930"/>
            <a:ext cx="1662511" cy="1121396"/>
          </a:xfrm>
          <a:prstGeom prst="roundRect">
            <a:avLst>
              <a:gd name="adj" fmla="val 4374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80000" tIns="80000" rIns="80000" bIns="80000" anchor="ctr"/>
          <a:lstStyle/>
          <a:p>
            <a:pPr>
              <a:spcBef>
                <a:spcPts val="333"/>
              </a:spcBef>
              <a:buSzPct val="115000"/>
            </a:pPr>
            <a:r>
              <a:rPr lang="en-US" sz="1556" b="1" dirty="0">
                <a:solidFill>
                  <a:prstClr val="white"/>
                </a:solidFill>
              </a:rPr>
              <a:t>Header</a:t>
            </a:r>
          </a:p>
        </p:txBody>
      </p:sp>
      <p:sp>
        <p:nvSpPr>
          <p:cNvPr id="28" name="RectanN4MlL0SGNXEyUx1N2W3YRHg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6562" y="2680063"/>
            <a:ext cx="1662511" cy="1121396"/>
          </a:xfrm>
          <a:prstGeom prst="roundRect">
            <a:avLst>
              <a:gd name="adj" fmla="val 4374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80000" tIns="80000" rIns="80000" bIns="80000" anchor="ctr"/>
          <a:lstStyle/>
          <a:p>
            <a:pPr>
              <a:spcBef>
                <a:spcPts val="333"/>
              </a:spcBef>
              <a:buSzPct val="115000"/>
            </a:pPr>
            <a:r>
              <a:rPr lang="en-US" sz="1556" b="1" dirty="0">
                <a:solidFill>
                  <a:prstClr val="white"/>
                </a:solidFill>
              </a:rPr>
              <a:t>Head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6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6" name="RectanN4MlL0SGNXEyUx1N2W3YRHg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6562" y="1406506"/>
            <a:ext cx="1662511" cy="1121396"/>
          </a:xfrm>
          <a:prstGeom prst="roundRect">
            <a:avLst>
              <a:gd name="adj" fmla="val 4374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80000" tIns="80000" rIns="80000" bIns="80000" anchor="ctr"/>
          <a:lstStyle/>
          <a:p>
            <a:pPr>
              <a:spcBef>
                <a:spcPts val="333"/>
              </a:spcBef>
              <a:buSzPct val="115000"/>
            </a:pPr>
            <a:r>
              <a:rPr lang="en-US" sz="1556" b="1" dirty="0">
                <a:solidFill>
                  <a:prstClr val="white"/>
                </a:solidFill>
              </a:rPr>
              <a:t>Header</a:t>
            </a:r>
          </a:p>
        </p:txBody>
      </p:sp>
      <p:sp>
        <p:nvSpPr>
          <p:cNvPr id="17" name="RectanN4MlL0SGNXEyUx1N2W3YRHg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93283" y="1409734"/>
            <a:ext cx="495814" cy="4936436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vert" lIns="80000" tIns="80000" rIns="80000" bIns="80000" anchor="ctr"/>
          <a:lstStyle/>
          <a:p>
            <a:pPr algn="ctr">
              <a:spcBef>
                <a:spcPts val="333"/>
              </a:spcBef>
              <a:buSzPct val="115000"/>
            </a:pPr>
            <a:r>
              <a:rPr lang="en-ZA" sz="1778" b="1" dirty="0">
                <a:solidFill>
                  <a:prstClr val="white"/>
                </a:solidFill>
              </a:rPr>
              <a:t>National Evaluation System </a:t>
            </a:r>
          </a:p>
        </p:txBody>
      </p:sp>
      <p:sp>
        <p:nvSpPr>
          <p:cNvPr id="39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62895" y="1429030"/>
            <a:ext cx="8182830" cy="125103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80000" tIns="80000" rIns="80000" bIns="80000" anchor="ctr"/>
          <a:lstStyle/>
          <a:p>
            <a:pPr>
              <a:lnSpc>
                <a:spcPct val="150000"/>
              </a:lnSpc>
              <a:spcBef>
                <a:spcPts val="333"/>
              </a:spcBef>
            </a:pPr>
            <a:endParaRPr lang="en-ZA" sz="1778" b="1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  <a:spcBef>
                <a:spcPts val="2667"/>
              </a:spcBef>
            </a:pPr>
            <a:r>
              <a:rPr lang="en-ZA" sz="1778" b="1" dirty="0">
                <a:solidFill>
                  <a:prstClr val="black"/>
                </a:solidFill>
              </a:rPr>
              <a:t>Adopted the National Evaluation System</a:t>
            </a:r>
          </a:p>
          <a:p>
            <a:pPr>
              <a:spcBef>
                <a:spcPts val="333"/>
              </a:spcBef>
            </a:pPr>
            <a:endParaRPr lang="en-ZA" sz="1778" dirty="0">
              <a:solidFill>
                <a:prstClr val="black"/>
              </a:solidFill>
            </a:endParaRPr>
          </a:p>
        </p:txBody>
      </p:sp>
      <p:sp>
        <p:nvSpPr>
          <p:cNvPr id="42" name="Rectangle 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69968" y="2919501"/>
            <a:ext cx="8139713" cy="77854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80000" tIns="80000" rIns="80000" bIns="80000" anchor="ctr"/>
          <a:lstStyle/>
          <a:p>
            <a:pPr>
              <a:lnSpc>
                <a:spcPct val="150000"/>
              </a:lnSpc>
              <a:spcBef>
                <a:spcPts val="2667"/>
              </a:spcBef>
            </a:pPr>
            <a:r>
              <a:rPr lang="en-ZA" sz="1778" b="1" dirty="0">
                <a:solidFill>
                  <a:prstClr val="black"/>
                </a:solidFill>
              </a:rPr>
              <a:t>Premised on Government –wide Data Terrains</a:t>
            </a:r>
          </a:p>
        </p:txBody>
      </p:sp>
      <p:sp>
        <p:nvSpPr>
          <p:cNvPr id="43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37161" y="5089730"/>
            <a:ext cx="8208564" cy="104052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80000" tIns="80000" rIns="80000" bIns="80000" anchor="ctr"/>
          <a:lstStyle/>
          <a:p>
            <a:pPr>
              <a:lnSpc>
                <a:spcPct val="150000"/>
              </a:lnSpc>
              <a:spcBef>
                <a:spcPts val="2667"/>
              </a:spcBef>
            </a:pPr>
            <a:r>
              <a:rPr lang="en-ZA" sz="1778" b="1" dirty="0">
                <a:solidFill>
                  <a:prstClr val="black"/>
                </a:solidFill>
              </a:rPr>
              <a:t>Integration with the Results-based Monitoring and Evaluation approach </a:t>
            </a:r>
            <a:endParaRPr lang="en-ZA" sz="1778" dirty="0">
              <a:solidFill>
                <a:prstClr val="black"/>
              </a:solidFill>
            </a:endParaRPr>
          </a:p>
        </p:txBody>
      </p:sp>
      <p:sp>
        <p:nvSpPr>
          <p:cNvPr id="21" name="Title 7"/>
          <p:cNvSpPr txBox="1">
            <a:spLocks/>
          </p:cNvSpPr>
          <p:nvPr/>
        </p:nvSpPr>
        <p:spPr>
          <a:xfrm>
            <a:off x="199459" y="228276"/>
            <a:ext cx="9681076" cy="781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80000" tIns="80000" rIns="80000" bIns="80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endParaRPr lang="en-GB" sz="2667" dirty="0">
              <a:solidFill>
                <a:srgbClr val="003399"/>
              </a:solidFill>
            </a:endParaRPr>
          </a:p>
        </p:txBody>
      </p:sp>
      <p:sp>
        <p:nvSpPr>
          <p:cNvPr id="20" name="Title 7"/>
          <p:cNvSpPr txBox="1">
            <a:spLocks/>
          </p:cNvSpPr>
          <p:nvPr/>
        </p:nvSpPr>
        <p:spPr>
          <a:xfrm>
            <a:off x="199458" y="229341"/>
            <a:ext cx="9681076" cy="781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80000" tIns="80000" rIns="80000" bIns="80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endParaRPr lang="en-GB" sz="2667" dirty="0">
              <a:solidFill>
                <a:srgbClr val="003399"/>
              </a:solidFill>
            </a:endParaRPr>
          </a:p>
        </p:txBody>
      </p:sp>
      <p:sp>
        <p:nvSpPr>
          <p:cNvPr id="22" name="Rechteck 5"/>
          <p:cNvSpPr>
            <a:spLocks/>
          </p:cNvSpPr>
          <p:nvPr/>
        </p:nvSpPr>
        <p:spPr>
          <a:xfrm>
            <a:off x="304276" y="185844"/>
            <a:ext cx="8974299" cy="99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/>
          <a:p>
            <a:pPr defTabSz="1015990">
              <a:spcBef>
                <a:spcPct val="0"/>
              </a:spcBef>
            </a:pPr>
            <a:r>
              <a:rPr lang="en-GB" sz="3200" b="1" dirty="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rPr>
              <a:t>Pillars of the Provincial Evaluation System   </a:t>
            </a:r>
            <a:endParaRPr lang="en-ZA" sz="3200" b="1" dirty="0">
              <a:solidFill>
                <a:schemeClr val="tx2"/>
              </a:solidFill>
              <a:latin typeface="Century Gothic" pitchFamily="34" charset="0"/>
              <a:ea typeface="+mj-ea"/>
              <a:cs typeface="+mj-cs"/>
            </a:endParaRPr>
          </a:p>
        </p:txBody>
      </p:sp>
      <p:sp>
        <p:nvSpPr>
          <p:cNvPr id="18" name="Rectangle 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369968" y="3937511"/>
            <a:ext cx="8231860" cy="10488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80000" tIns="80000" rIns="80000" bIns="80000" anchor="ctr"/>
          <a:lstStyle/>
          <a:p>
            <a:pPr>
              <a:lnSpc>
                <a:spcPct val="150000"/>
              </a:lnSpc>
              <a:spcBef>
                <a:spcPts val="2667"/>
              </a:spcBef>
            </a:pPr>
            <a:r>
              <a:rPr lang="en-ZA" sz="1778" b="1" dirty="0">
                <a:solidFill>
                  <a:prstClr val="black"/>
                </a:solidFill>
              </a:rPr>
              <a:t>Sub-system of Province-wide Monitoring and Evaluation System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endParaRPr lang="en-US" spc="60" dirty="0"/>
          </a:p>
        </p:txBody>
      </p:sp>
      <p:pic>
        <p:nvPicPr>
          <p:cNvPr id="23" name="Picture 115" descr="C:\Users\Conny\Desktop\WCG\WCG - Logo\PNG\Logos blue\Department of the Premier\WCG - Logo - Department of the Premier - Blue.png">
            <a:extLst>
              <a:ext uri="{FF2B5EF4-FFF2-40B4-BE49-F238E27FC236}">
                <a16:creationId xmlns:a16="http://schemas.microsoft.com/office/drawing/2014/main" id="{BAD721AD-AD48-4408-87D8-CF50828CC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77" y="6832354"/>
            <a:ext cx="1232631" cy="384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71059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425BF6-88AE-4E13-89F2-4E1DD61C4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300" y="300706"/>
            <a:ext cx="9535199" cy="492443"/>
          </a:xfrm>
        </p:spPr>
        <p:txBody>
          <a:bodyPr/>
          <a:lstStyle/>
          <a:p>
            <a:r>
              <a:rPr lang="en-US" sz="3200" b="1" dirty="0">
                <a:latin typeface="Century Gothic" panose="020B0502020202020204" pitchFamily="34" charset="0"/>
              </a:rPr>
              <a:t>Provincial Evaluation System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C88CF0-9A05-4410-85AA-AACE328303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0918" y="1958510"/>
            <a:ext cx="3878948" cy="270707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2FDF87-244D-4076-87CE-327586E441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1939" y="1217892"/>
            <a:ext cx="9596120" cy="58434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84EF2C-6148-4BF3-8FE5-92BEE2071C63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endParaRPr lang="en-US" spc="6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6312E6-B667-4EC0-90DF-2DCCF3949B7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lang="en-US" spc="80" smtClean="0"/>
              <a:t>7</a:t>
            </a:fld>
            <a:endParaRPr lang="en-US" spc="8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C189F6-08AF-46DE-B4D0-374778CD24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300" y="1198495"/>
            <a:ext cx="3849743" cy="586287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AC296D-4591-46BA-B191-CF353828EED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7289800" y="3530949"/>
            <a:ext cx="2518263" cy="3378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0825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91C38-9299-49BC-9F42-E8536AAB10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WCG Evaluation Journey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21E104-060E-448B-AD35-E3FC28D6EE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8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E6C808-FA74-478D-86C4-9DB11A7C65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22530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917" y="1046023"/>
            <a:ext cx="8912225" cy="229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2"/>
          <p:cNvSpPr txBox="1">
            <a:spLocks noChangeArrowheads="1"/>
          </p:cNvSpPr>
          <p:nvPr/>
        </p:nvSpPr>
        <p:spPr bwMode="auto">
          <a:xfrm>
            <a:off x="627061" y="3992670"/>
            <a:ext cx="1826018" cy="2484329"/>
          </a:xfrm>
          <a:prstGeom prst="rect">
            <a:avLst/>
          </a:prstGeom>
          <a:gradFill rotWithShape="1">
            <a:gsLst>
              <a:gs pos="0">
                <a:srgbClr val="9B9B9B"/>
              </a:gs>
              <a:gs pos="50000">
                <a:srgbClr val="8E8E8E"/>
              </a:gs>
              <a:gs pos="100000">
                <a:srgbClr val="797979"/>
              </a:gs>
            </a:gsLst>
            <a:lin ang="5400000"/>
          </a:gra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800" b="0" i="0" u="none" strike="noStrike" cap="none" normalizeH="0" baseline="0" dirty="0">
              <a:ln>
                <a:noFill/>
              </a:ln>
              <a:solidFill>
                <a:srgbClr val="303030"/>
              </a:solidFill>
              <a:effectLst/>
              <a:latin typeface="Century Gothic" panose="020B0502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200" dirty="0">
                <a:solidFill>
                  <a:schemeClr val="bg1"/>
                </a:solidFill>
                <a:latin typeface="Century Gothic" panose="020B0502020202020204" pitchFamily="34" charset="0"/>
              </a:rPr>
              <a:t>NEPF Developed, 2011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2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NES established-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MS Shell Dlg 2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WC pilot province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MS Shell Dlg 2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entury Gothic" panose="020B0502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Audit of Evaluations-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MS Shell Dlg 2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1st Evaluation Dictionary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MS Shell Dlg 2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2565399" y="3987368"/>
            <a:ext cx="2746653" cy="2870632"/>
          </a:xfrm>
          <a:prstGeom prst="rect">
            <a:avLst/>
          </a:prstGeom>
          <a:gradFill rotWithShape="1">
            <a:gsLst>
              <a:gs pos="0">
                <a:srgbClr val="A8B7DF"/>
              </a:gs>
              <a:gs pos="50000">
                <a:srgbClr val="9AABD9"/>
              </a:gs>
              <a:gs pos="100000">
                <a:srgbClr val="879ED7"/>
              </a:gs>
            </a:gsLst>
            <a:lin ang="5400000"/>
          </a:gradFill>
          <a:ln w="6350" algn="ctr">
            <a:solidFill>
              <a:srgbClr val="4472C4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1" i="0" u="none" strike="noStrike" cap="none" normalizeH="0" baseline="0" dirty="0">
                <a:ln>
                  <a:noFill/>
                </a:ln>
                <a:effectLst/>
                <a:latin typeface="Century Gothic" panose="020B0502020202020204" pitchFamily="34" charset="0"/>
              </a:rPr>
              <a:t>Focus</a:t>
            </a:r>
            <a:r>
              <a:rPr kumimoji="0" lang="en-US" altLang="en-US" sz="1200" b="1" i="0" u="none" strike="noStrike" cap="none" normalizeH="0" dirty="0">
                <a:ln>
                  <a:noFill/>
                </a:ln>
                <a:effectLst/>
                <a:latin typeface="Century Gothic" panose="020B0502020202020204" pitchFamily="34" charset="0"/>
              </a:rPr>
              <a:t> On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1" i="0" u="none" strike="noStrike" cap="none" normalizeH="0" baseline="0" dirty="0">
              <a:ln>
                <a:noFill/>
              </a:ln>
              <a:effectLst/>
              <a:latin typeface="MS Shell Dlg 2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effectLst/>
                <a:latin typeface="Century Gothic" panose="020B0502020202020204" pitchFamily="34" charset="0"/>
              </a:rPr>
              <a:t>Guideline: Implementation of Evaluations</a:t>
            </a:r>
            <a:r>
              <a:rPr kumimoji="0" lang="en-US" altLang="en-US" sz="1200" b="0" i="0" u="none" strike="noStrike" cap="none" normalizeH="0" dirty="0">
                <a:ln>
                  <a:noFill/>
                </a:ln>
                <a:effectLst/>
                <a:latin typeface="Century Gothic" panose="020B0502020202020204" pitchFamily="34" charset="0"/>
              </a:rPr>
              <a:t> across WCG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effectLst/>
              <a:latin typeface="Century Gothic" panose="020B0502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20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effectLst/>
                <a:latin typeface="Century Gothic" panose="020B0502020202020204" pitchFamily="34" charset="0"/>
              </a:rPr>
              <a:t>Building a culture of evaluation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effectLst/>
              <a:latin typeface="MS Shell Dlg 2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effectLst/>
              <a:latin typeface="Century Gothic" panose="020B0502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effectLst/>
                <a:latin typeface="Century Gothic" panose="020B0502020202020204" pitchFamily="34" charset="0"/>
              </a:rPr>
              <a:t>Champions</a:t>
            </a:r>
            <a:r>
              <a:rPr kumimoji="0" lang="en-US" altLang="en-US" sz="1200" b="0" i="0" u="none" strike="noStrike" cap="none" normalizeH="0" dirty="0">
                <a:ln>
                  <a:noFill/>
                </a:ln>
                <a:effectLst/>
                <a:latin typeface="Century Gothic" panose="020B0502020202020204" pitchFamily="34" charset="0"/>
              </a:rPr>
              <a:t> Identified, buy i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effectLst/>
              <a:latin typeface="Century Gothic" panose="020B0502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effectLst/>
                <a:latin typeface="Century Gothic" panose="020B0502020202020204" pitchFamily="34" charset="0"/>
              </a:rPr>
              <a:t>Capacity building &amp; advocac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200" dirty="0">
              <a:latin typeface="Century Gothic" panose="020B0502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effectLst/>
                <a:latin typeface="Century Gothic" panose="020B0502020202020204" pitchFamily="34" charset="0"/>
              </a:rPr>
              <a:t>Establishing</a:t>
            </a:r>
            <a:r>
              <a:rPr kumimoji="0" lang="en-US" altLang="en-US" sz="1200" b="0" i="0" u="none" strike="noStrike" cap="none" normalizeH="0" dirty="0">
                <a:ln>
                  <a:noFill/>
                </a:ln>
                <a:effectLst/>
                <a:latin typeface="Century Gothic" panose="020B0502020202020204" pitchFamily="34" charset="0"/>
              </a:rPr>
              <a:t> Provincial ETWG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effectLst/>
              <a:latin typeface="MS Shell Dlg 2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 Box 2"/>
          <p:cNvSpPr txBox="1">
            <a:spLocks noChangeArrowheads="1"/>
          </p:cNvSpPr>
          <p:nvPr/>
        </p:nvSpPr>
        <p:spPr bwMode="auto">
          <a:xfrm>
            <a:off x="5424374" y="3948976"/>
            <a:ext cx="2568128" cy="2926290"/>
          </a:xfrm>
          <a:prstGeom prst="rect">
            <a:avLst/>
          </a:prstGeom>
          <a:gradFill rotWithShape="1">
            <a:gsLst>
              <a:gs pos="0">
                <a:srgbClr val="F7BDA4"/>
              </a:gs>
              <a:gs pos="50000">
                <a:srgbClr val="F5B195"/>
              </a:gs>
              <a:gs pos="100000">
                <a:srgbClr val="F8A581"/>
              </a:gs>
            </a:gsLst>
            <a:lin ang="5400000"/>
          </a:gradFill>
          <a:ln w="6350" algn="ctr">
            <a:solidFill>
              <a:srgbClr val="ED7D3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en-US" alt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</a:rPr>
              <a:t>Focus On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effectLst/>
                <a:latin typeface="Century Gothic" panose="020B0502020202020204" pitchFamily="34" charset="0"/>
              </a:rPr>
              <a:t>Strengthening PT and </a:t>
            </a:r>
            <a:r>
              <a:rPr kumimoji="0" lang="en-US" altLang="en-US" sz="1200" b="0" i="0" u="none" strike="noStrike" cap="none" normalizeH="0" baseline="0" dirty="0" err="1">
                <a:ln>
                  <a:noFill/>
                </a:ln>
                <a:effectLst/>
                <a:latin typeface="Century Gothic" panose="020B0502020202020204" pitchFamily="34" charset="0"/>
              </a:rPr>
              <a:t>DotP</a:t>
            </a:r>
            <a:r>
              <a:rPr kumimoji="0" lang="en-US" altLang="en-US" sz="1200" b="0" i="0" u="none" strike="noStrike" cap="none" normalizeH="0" baseline="0" dirty="0">
                <a:ln>
                  <a:noFill/>
                </a:ln>
                <a:effectLst/>
                <a:latin typeface="Century Gothic" panose="020B0502020202020204" pitchFamily="34" charset="0"/>
              </a:rPr>
              <a:t> collaboration/partnershi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lang="en-US" altLang="en-US" sz="1200" dirty="0">
                <a:latin typeface="Century Gothic" panose="020B0502020202020204" pitchFamily="34" charset="0"/>
              </a:rPr>
              <a:t>2018: First funding for evaluation of key strategic interventions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effectLst/>
              <a:latin typeface="Century Gothic" panose="020B0502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effectLst/>
                <a:latin typeface="Century Gothic" panose="020B0502020202020204" pitchFamily="34" charset="0"/>
              </a:rPr>
              <a:t>Guideline :Linking evaluations to planning and budget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en-US" altLang="en-US" sz="1200" b="0" i="0" u="none" strike="noStrike" cap="none" normalizeH="0" baseline="0" dirty="0">
                <a:ln>
                  <a:noFill/>
                </a:ln>
                <a:effectLst/>
                <a:latin typeface="Century Gothic" panose="020B0502020202020204" pitchFamily="34" charset="0"/>
              </a:rPr>
              <a:t>Quality Assurance  &amp; </a:t>
            </a:r>
            <a:r>
              <a:rPr lang="en-US" altLang="en-US" sz="1200" dirty="0">
                <a:latin typeface="Century Gothic" panose="020B0502020202020204" pitchFamily="34" charset="0"/>
              </a:rPr>
              <a:t>Peer review</a:t>
            </a:r>
            <a:endParaRPr kumimoji="0" lang="en-US" altLang="en-US" sz="1200" b="0" i="0" u="none" strike="noStrike" cap="none" normalizeH="0" baseline="0" dirty="0">
              <a:ln>
                <a:noFill/>
              </a:ln>
              <a:effectLst/>
              <a:latin typeface="Century Gothic" panose="020B0502020202020204" pitchFamily="34" charset="0"/>
            </a:endParaRPr>
          </a:p>
        </p:txBody>
      </p:sp>
      <p:sp>
        <p:nvSpPr>
          <p:cNvPr id="15" name="Text Box 2"/>
          <p:cNvSpPr txBox="1">
            <a:spLocks noChangeArrowheads="1"/>
          </p:cNvSpPr>
          <p:nvPr/>
        </p:nvSpPr>
        <p:spPr bwMode="auto">
          <a:xfrm>
            <a:off x="8104823" y="3987368"/>
            <a:ext cx="1922230" cy="2870632"/>
          </a:xfrm>
          <a:prstGeom prst="rect">
            <a:avLst/>
          </a:prstGeom>
          <a:gradFill rotWithShape="1">
            <a:gsLst>
              <a:gs pos="0">
                <a:srgbClr val="FFDD9C"/>
              </a:gs>
              <a:gs pos="50000">
                <a:srgbClr val="FFD78E"/>
              </a:gs>
              <a:gs pos="100000">
                <a:srgbClr val="FFD479"/>
              </a:gs>
            </a:gsLst>
            <a:lin ang="5400000"/>
          </a:gradFill>
          <a:ln w="6350" algn="ctr">
            <a:solidFill>
              <a:srgbClr val="FFC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200" dirty="0">
                <a:solidFill>
                  <a:srgbClr val="303030"/>
                </a:solidFill>
              </a:rPr>
              <a:t>Focus on </a:t>
            </a:r>
            <a:r>
              <a:rPr lang="en-US" altLang="en-US" sz="1200" dirty="0"/>
              <a:t>eviden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200" dirty="0" err="1"/>
              <a:t>Utilisation</a:t>
            </a:r>
            <a:r>
              <a:rPr lang="en-US" altLang="en-US" sz="1200" dirty="0"/>
              <a:t> &amp;</a:t>
            </a:r>
            <a:endParaRPr kumimoji="0" lang="en-US" altLang="en-US" sz="120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200" dirty="0"/>
              <a:t>Communication</a:t>
            </a:r>
            <a:endParaRPr kumimoji="0" lang="en-US" altLang="en-US" sz="120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i="0" u="none" strike="noStrike" cap="none" normalizeH="0" baseline="0" dirty="0">
                <a:ln>
                  <a:noFill/>
                </a:ln>
                <a:effectLst/>
              </a:rPr>
              <a:t>Evidence Brief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2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i="0" u="none" strike="noStrike" cap="none" normalizeH="0" baseline="0" dirty="0">
                <a:ln>
                  <a:noFill/>
                </a:ln>
                <a:effectLst/>
              </a:rPr>
              <a:t>Evidence Map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20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i="0" u="none" strike="noStrike" cap="none" normalizeH="0" baseline="0" dirty="0">
                <a:ln>
                  <a:noFill/>
                </a:ln>
                <a:effectLst/>
              </a:rPr>
              <a:t>Evidence Repositor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800" b="0" i="0" u="none" strike="noStrike" cap="none" normalizeH="0" baseline="0" dirty="0">
              <a:ln>
                <a:noFill/>
              </a:ln>
              <a:solidFill>
                <a:srgbClr val="303030"/>
              </a:solidFill>
              <a:effectLst/>
              <a:latin typeface="Century Gothic" panose="020B0502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Arrow: Left-Right 2"/>
          <p:cNvSpPr>
            <a:spLocks noChangeArrowheads="1"/>
          </p:cNvSpPr>
          <p:nvPr/>
        </p:nvSpPr>
        <p:spPr bwMode="auto">
          <a:xfrm>
            <a:off x="2425978" y="3464789"/>
            <a:ext cx="2886075" cy="484187"/>
          </a:xfrm>
          <a:prstGeom prst="leftRightArrow">
            <a:avLst>
              <a:gd name="adj1" fmla="val 50000"/>
              <a:gd name="adj2" fmla="val 50031"/>
            </a:avLst>
          </a:prstGeom>
          <a:gradFill rotWithShape="1">
            <a:gsLst>
              <a:gs pos="0">
                <a:srgbClr val="6083CB"/>
              </a:gs>
              <a:gs pos="50000">
                <a:srgbClr val="3E70CA"/>
              </a:gs>
              <a:gs pos="100000">
                <a:srgbClr val="2E61BA"/>
              </a:gs>
            </a:gsLst>
            <a:lin ang="5400000"/>
          </a:gradFill>
          <a:ln>
            <a:noFill/>
          </a:ln>
          <a:effectLst>
            <a:outerShdw blurRad="57150" dist="19050" dir="5400000" algn="ctr" rotWithShape="0">
              <a:srgbClr val="000000">
                <a:alpha val="62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PEP 1: 17 evaluations</a:t>
            </a:r>
            <a:endParaRPr kumimoji="0" lang="en-US" altLang="en-US" sz="1400" b="0" i="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Arrow: Left-Right 4"/>
          <p:cNvSpPr>
            <a:spLocks noChangeArrowheads="1"/>
          </p:cNvSpPr>
          <p:nvPr/>
        </p:nvSpPr>
        <p:spPr bwMode="auto">
          <a:xfrm>
            <a:off x="5344082" y="3420777"/>
            <a:ext cx="2914650" cy="484187"/>
          </a:xfrm>
          <a:prstGeom prst="leftRightArrow">
            <a:avLst>
              <a:gd name="adj1" fmla="val 50000"/>
              <a:gd name="adj2" fmla="val 47684"/>
            </a:avLst>
          </a:prstGeom>
          <a:gradFill rotWithShape="1">
            <a:gsLst>
              <a:gs pos="0">
                <a:srgbClr val="6083CB"/>
              </a:gs>
              <a:gs pos="50000">
                <a:srgbClr val="3E70CA"/>
              </a:gs>
              <a:gs pos="100000">
                <a:srgbClr val="2E61BA"/>
              </a:gs>
            </a:gsLst>
            <a:lin ang="5400000"/>
          </a:gradFill>
          <a:ln>
            <a:noFill/>
          </a:ln>
          <a:effectLst>
            <a:outerShdw blurRad="57150" dist="19050" dir="5400000" algn="ctr" rotWithShape="0">
              <a:srgbClr val="000000">
                <a:alpha val="62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PEP 2: 27 Evaluations</a:t>
            </a:r>
            <a:endParaRPr kumimoji="0" lang="en-US" alt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Arrow: Right 6"/>
          <p:cNvSpPr>
            <a:spLocks noChangeArrowheads="1"/>
          </p:cNvSpPr>
          <p:nvPr/>
        </p:nvSpPr>
        <p:spPr bwMode="auto">
          <a:xfrm>
            <a:off x="8265082" y="3420777"/>
            <a:ext cx="1386918" cy="484187"/>
          </a:xfrm>
          <a:prstGeom prst="rightArrow">
            <a:avLst>
              <a:gd name="adj1" fmla="val 50000"/>
              <a:gd name="adj2" fmla="val 50024"/>
            </a:avLst>
          </a:prstGeom>
          <a:gradFill rotWithShape="1">
            <a:gsLst>
              <a:gs pos="0">
                <a:srgbClr val="6083CB"/>
              </a:gs>
              <a:gs pos="50000">
                <a:srgbClr val="3E70CA"/>
              </a:gs>
              <a:gs pos="100000">
                <a:srgbClr val="2E61BA"/>
              </a:gs>
            </a:gsLst>
            <a:lin ang="5400000"/>
          </a:gradFill>
          <a:ln>
            <a:noFill/>
          </a:ln>
          <a:effectLst>
            <a:outerShdw blurRad="57150" dist="19050" dir="5400000" algn="ctr" rotWithShape="0">
              <a:srgbClr val="000000">
                <a:alpha val="62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PEP 3 ………</a:t>
            </a:r>
            <a:endParaRPr kumimoji="0" lang="en-US" altLang="en-US" sz="1800" b="0" i="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46771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B2EA8DA-1552-4ED8-8031-72751C17D2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Developing a Data and Evidence Architecture for </a:t>
            </a:r>
            <a:r>
              <a:rPr lang="en-US" dirty="0" err="1"/>
              <a:t>Utilisation</a:t>
            </a:r>
            <a:r>
              <a:rPr lang="en-US" dirty="0"/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00927D-B35A-480D-BAF1-89DF6B7C004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588500" y="7186613"/>
            <a:ext cx="571500" cy="257175"/>
          </a:xfrm>
        </p:spPr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9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014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0FUfG60kO0YGSKRs98S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ykdcoIT0mXA0kZdOlL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JnmZ.VUUe.DOUj00b4e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TGCZ_FWEKV9zAxQ4ZIQ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GfDXEMkKXDam0RvZ_f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0FUfG60kO0YGSKRs98S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2NXwhAZ0GhOyVDOO4aF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Us3wziXkei_EkLVn4IK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06NTmCE2QyRq6d2wMk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lUVuRLq06om34YZg3F0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lUVuRLq06om34YZg3F0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DbmkrZxESosVkHONzoF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2pkYjG9kig9J0167Myl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2pkYjG9kig9J0167Myl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2pkYjG9kig9J0167Myl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2pkYjG9kig9J0167Myl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4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Bef>
            <a:spcPts val="300"/>
          </a:spcBef>
          <a:defRPr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_WCG-Department of the Premier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5_WCG-Department of the Premier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6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17_WCG-Department of the Premier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20_WCG-Department of the Premier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8_WCG-Department of the Premier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0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9_WCG-Department of the Premier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21_WCG-Department of the Premier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8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1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32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WCG-Department of the Premier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26</TotalTime>
  <Words>991</Words>
  <Application>Microsoft Office PowerPoint</Application>
  <PresentationFormat>Custom</PresentationFormat>
  <Paragraphs>225</Paragraphs>
  <Slides>24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8" baseType="lpstr">
      <vt:lpstr>ＭＳ Ｐゴシック</vt:lpstr>
      <vt:lpstr>Arial</vt:lpstr>
      <vt:lpstr>Calibri</vt:lpstr>
      <vt:lpstr>Cambria</vt:lpstr>
      <vt:lpstr>Century Gothic</vt:lpstr>
      <vt:lpstr>MS Shell Dlg 2</vt:lpstr>
      <vt:lpstr>Times New Roman</vt:lpstr>
      <vt:lpstr>Wingdings</vt:lpstr>
      <vt:lpstr>Office Theme</vt:lpstr>
      <vt:lpstr>18_WCG-Department of the Premier-New PPT Master-01112012</vt:lpstr>
      <vt:lpstr>30_Western Cape Government Master Template</vt:lpstr>
      <vt:lpstr>19_WCG-Department of the Premier-New PPT Master-01112012</vt:lpstr>
      <vt:lpstr>21_WCG-Department of the Premier-New PPT Master-01112012</vt:lpstr>
      <vt:lpstr>28_Western Cape Government Master Template</vt:lpstr>
      <vt:lpstr>31_Western Cape Government Master Template</vt:lpstr>
      <vt:lpstr>32_Western Cape Government Master Template</vt:lpstr>
      <vt:lpstr>WCG-Department of the Premier-New PPT Master-01112012</vt:lpstr>
      <vt:lpstr>4_Western Cape Government Master Template</vt:lpstr>
      <vt:lpstr>1_WCG-Department of the Premier-New PPT Master-01112012</vt:lpstr>
      <vt:lpstr>15_WCG-Department of the Premier-New PPT Master-01112012</vt:lpstr>
      <vt:lpstr>6_Western Cape Government Master Template</vt:lpstr>
      <vt:lpstr>17_WCG-Department of the Premier-New PPT Master-01112012</vt:lpstr>
      <vt:lpstr>20_WCG-Department of the Premier-New PPT Master-01112012</vt:lpstr>
      <vt:lpstr>think-cell Slide</vt:lpstr>
      <vt:lpstr>PowerPoint Presentation</vt:lpstr>
      <vt:lpstr>The Western Cape Evaluations Drivers</vt:lpstr>
      <vt:lpstr>PowerPoint Presentation</vt:lpstr>
      <vt:lpstr>PowerPoint Presentation</vt:lpstr>
      <vt:lpstr>National Evaluation System</vt:lpstr>
      <vt:lpstr> </vt:lpstr>
      <vt:lpstr>Provincial Evaluation System</vt:lpstr>
      <vt:lpstr>WCG Evaluation Journey </vt:lpstr>
      <vt:lpstr>PowerPoint Presentation</vt:lpstr>
      <vt:lpstr>PowerPoint Presentation</vt:lpstr>
      <vt:lpstr>Evidence Practice – Technical Support</vt:lpstr>
      <vt:lpstr>Evidence Practice - Methodologies</vt:lpstr>
      <vt:lpstr>Evidence Maps</vt:lpstr>
      <vt:lpstr>Evidence Repository – Strategic Priorities</vt:lpstr>
      <vt:lpstr>Evidence Brief PTMS</vt:lpstr>
      <vt:lpstr>Evidence Brief RSEP</vt:lpstr>
      <vt:lpstr>Evidence Brief WCCCRS</vt:lpstr>
      <vt:lpstr>Evidence Brief BRIP</vt:lpstr>
      <vt:lpstr>PowerPoint Presentation</vt:lpstr>
      <vt:lpstr>Key Implementing Issues -Data and Evidence Use</vt:lpstr>
      <vt:lpstr>Key Implementing Issues-  Ensure Useful Evidence</vt:lpstr>
      <vt:lpstr>Way Forward-Driving the Data and Evidence agenda</vt:lpstr>
      <vt:lpstr>PowerPoint Presentation</vt:lpstr>
      <vt:lpstr>Come and Visit us in Cape Town South Afric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nline2PDF.com</dc:creator>
  <cp:lastModifiedBy>Victoria Tully</cp:lastModifiedBy>
  <cp:revision>274</cp:revision>
  <cp:lastPrinted>2019-03-06T07:00:40Z</cp:lastPrinted>
  <dcterms:created xsi:type="dcterms:W3CDTF">2017-03-12T06:19:17Z</dcterms:created>
  <dcterms:modified xsi:type="dcterms:W3CDTF">2019-12-06T08:4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3-12T00:00:00Z</vt:filetime>
  </property>
  <property fmtid="{D5CDD505-2E9C-101B-9397-08002B2CF9AE}" pid="3" name="LastSaved">
    <vt:filetime>2017-03-12T00:00:00Z</vt:filetime>
  </property>
</Properties>
</file>